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9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0.xml" ContentType="application/vnd.openxmlformats-officedocument.presentationml.notesSlide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notesSlides/notesSlide13.xml" ContentType="application/vnd.openxmlformats-officedocument.presentationml.notesSlide+xml"/>
  <Override PartName="/ppt/tags/tag50.xml" ContentType="application/vnd.openxmlformats-officedocument.presentationml.tags+xml"/>
  <Override PartName="/ppt/notesSlides/notesSlide14.xml" ContentType="application/vnd.openxmlformats-officedocument.presentationml.notesSlide+xml"/>
  <Override PartName="/ppt/tags/tag51.xml" ContentType="application/vnd.openxmlformats-officedocument.presentationml.tags+xml"/>
  <Override PartName="/ppt/notesSlides/notesSlide15.xml" ContentType="application/vnd.openxmlformats-officedocument.presentationml.notesSlide+xml"/>
  <Override PartName="/ppt/tags/tag52.xml" ContentType="application/vnd.openxmlformats-officedocument.presentationml.tags+xml"/>
  <Override PartName="/ppt/notesSlides/notesSlide16.xml" ContentType="application/vnd.openxmlformats-officedocument.presentationml.notesSlide+xml"/>
  <Override PartName="/ppt/tags/tag53.xml" ContentType="application/vnd.openxmlformats-officedocument.presentationml.tags+xml"/>
  <Override PartName="/ppt/notesSlides/notesSlide17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8.xml" ContentType="application/vnd.openxmlformats-officedocument.presentationml.notesSlide+xml"/>
  <Override PartName="/ppt/tags/tag57.xml" ContentType="application/vnd.openxmlformats-officedocument.presentationml.tags+xml"/>
  <Override PartName="/ppt/notesSlides/notesSlide19.xml" ContentType="application/vnd.openxmlformats-officedocument.presentationml.notesSlide+xml"/>
  <Override PartName="/ppt/tags/tag58.xml" ContentType="application/vnd.openxmlformats-officedocument.presentationml.tags+xml"/>
  <Override PartName="/ppt/notesSlides/notesSlide20.xml" ContentType="application/vnd.openxmlformats-officedocument.presentationml.notesSlide+xml"/>
  <Override PartName="/ppt/tags/tag59.xml" ContentType="application/vnd.openxmlformats-officedocument.presentationml.tags+xml"/>
  <Override PartName="/ppt/notesSlides/notesSlide21.xml" ContentType="application/vnd.openxmlformats-officedocument.presentationml.notesSlide+xml"/>
  <Override PartName="/ppt/tags/tag60.xml" ContentType="application/vnd.openxmlformats-officedocument.presentationml.tags+xml"/>
  <Override PartName="/ppt/notesSlides/notesSlide22.xml" ContentType="application/vnd.openxmlformats-officedocument.presentationml.notesSlide+xml"/>
  <Override PartName="/ppt/tags/tag61.xml" ContentType="application/vnd.openxmlformats-officedocument.presentationml.tags+xml"/>
  <Override PartName="/ppt/notesSlides/notesSlide23.xml" ContentType="application/vnd.openxmlformats-officedocument.presentationml.notesSlide+xml"/>
  <Override PartName="/ppt/tags/tag62.xml" ContentType="application/vnd.openxmlformats-officedocument.presentationml.tags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12" r:id="rId4"/>
  </p:sldMasterIdLst>
  <p:notesMasterIdLst>
    <p:notesMasterId r:id="rId43"/>
  </p:notesMasterIdLst>
  <p:sldIdLst>
    <p:sldId id="354" r:id="rId5"/>
    <p:sldId id="432" r:id="rId6"/>
    <p:sldId id="407" r:id="rId7"/>
    <p:sldId id="412" r:id="rId8"/>
    <p:sldId id="364" r:id="rId9"/>
    <p:sldId id="404" r:id="rId10"/>
    <p:sldId id="367" r:id="rId11"/>
    <p:sldId id="437" r:id="rId12"/>
    <p:sldId id="436" r:id="rId13"/>
    <p:sldId id="426" r:id="rId14"/>
    <p:sldId id="421" r:id="rId15"/>
    <p:sldId id="423" r:id="rId16"/>
    <p:sldId id="434" r:id="rId17"/>
    <p:sldId id="428" r:id="rId18"/>
    <p:sldId id="435" r:id="rId19"/>
    <p:sldId id="362" r:id="rId20"/>
    <p:sldId id="345" r:id="rId21"/>
    <p:sldId id="349" r:id="rId22"/>
    <p:sldId id="433" r:id="rId23"/>
    <p:sldId id="334" r:id="rId24"/>
    <p:sldId id="352" r:id="rId25"/>
    <p:sldId id="343" r:id="rId26"/>
    <p:sldId id="356" r:id="rId27"/>
    <p:sldId id="329" r:id="rId28"/>
    <p:sldId id="353" r:id="rId29"/>
    <p:sldId id="351" r:id="rId30"/>
    <p:sldId id="333" r:id="rId31"/>
    <p:sldId id="309" r:id="rId32"/>
    <p:sldId id="310" r:id="rId33"/>
    <p:sldId id="299" r:id="rId34"/>
    <p:sldId id="318" r:id="rId35"/>
    <p:sldId id="312" r:id="rId36"/>
    <p:sldId id="303" r:id="rId37"/>
    <p:sldId id="304" r:id="rId38"/>
    <p:sldId id="319" r:id="rId39"/>
    <p:sldId id="306" r:id="rId40"/>
    <p:sldId id="307" r:id="rId41"/>
    <p:sldId id="301" r:id="rId42"/>
  </p:sldIdLst>
  <p:sldSz cx="9144000" cy="5143500" type="screen16x9"/>
  <p:notesSz cx="6858000" cy="9144000"/>
  <p:embeddedFontLst>
    <p:embeddedFont>
      <p:font typeface="Lufthansa Office Head" panose="020B0604020202020204" charset="0"/>
      <p:regular r:id="rId44"/>
      <p:bold r:id="rId45"/>
    </p:embeddedFont>
    <p:embeddedFont>
      <p:font typeface="Lufthansa Office Text" panose="020B0604020202020204" charset="0"/>
      <p:regular r:id="rId46"/>
      <p:bold r:id="rId47"/>
    </p:embeddedFont>
    <p:embeddedFont>
      <p:font typeface="Wingdings 3" panose="05040102010807070707" pitchFamily="18" charset="2"/>
      <p:regular r:id="rId48"/>
    </p:embeddedFont>
  </p:embeddedFontLst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7471984-46CF-7544-9E56-E446C5A31CB8}">
          <p14:sldIdLst>
            <p14:sldId id="354"/>
            <p14:sldId id="432"/>
            <p14:sldId id="407"/>
            <p14:sldId id="412"/>
            <p14:sldId id="364"/>
            <p14:sldId id="404"/>
            <p14:sldId id="367"/>
            <p14:sldId id="437"/>
            <p14:sldId id="436"/>
            <p14:sldId id="426"/>
            <p14:sldId id="421"/>
            <p14:sldId id="423"/>
            <p14:sldId id="434"/>
            <p14:sldId id="428"/>
            <p14:sldId id="435"/>
          </p14:sldIdLst>
        </p14:section>
        <p14:section name="How to" id="{16863EE4-7F89-42F4-8C53-EACDE85B3042}">
          <p14:sldIdLst>
            <p14:sldId id="362"/>
            <p14:sldId id="345"/>
            <p14:sldId id="349"/>
            <p14:sldId id="433"/>
            <p14:sldId id="334"/>
            <p14:sldId id="352"/>
            <p14:sldId id="343"/>
            <p14:sldId id="356"/>
          </p14:sldIdLst>
        </p14:section>
        <p14:section name="Content" id="{686944A7-8C3B-0C4D-AC71-6BE6C12739B7}">
          <p14:sldIdLst>
            <p14:sldId id="329"/>
            <p14:sldId id="353"/>
            <p14:sldId id="351"/>
            <p14:sldId id="333"/>
            <p14:sldId id="309"/>
            <p14:sldId id="310"/>
            <p14:sldId id="299"/>
            <p14:sldId id="318"/>
            <p14:sldId id="312"/>
            <p14:sldId id="303"/>
            <p14:sldId id="304"/>
            <p14:sldId id="319"/>
          </p14:sldIdLst>
        </p14:section>
        <p14:section name="Grafikelemente" id="{5D5180BF-B37C-4A40-B943-AC2365BBD912}">
          <p14:sldIdLst>
            <p14:sldId id="306"/>
            <p14:sldId id="307"/>
            <p14:sldId id="30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1" userDrawn="1">
          <p15:clr>
            <a:srgbClr val="A4A3A4"/>
          </p15:clr>
        </p15:guide>
        <p15:guide id="4" orient="horz" pos="1461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7" pos="2789" userDrawn="1">
          <p15:clr>
            <a:srgbClr val="A4A3A4"/>
          </p15:clr>
        </p15:guide>
        <p15:guide id="8" pos="5534" userDrawn="1">
          <p15:clr>
            <a:srgbClr val="A4A3A4"/>
          </p15:clr>
        </p15:guide>
        <p15:guide id="9" pos="183">
          <p15:clr>
            <a:srgbClr val="A4A3A4"/>
          </p15:clr>
        </p15:guide>
        <p15:guide id="10" orient="horz" pos="554" userDrawn="1">
          <p15:clr>
            <a:srgbClr val="A4A3A4"/>
          </p15:clr>
        </p15:guide>
        <p15:guide id="13" pos="181">
          <p15:clr>
            <a:srgbClr val="A4A3A4"/>
          </p15:clr>
        </p15:guide>
        <p15:guide id="14" pos="29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ona Liebchen" initials="IL" lastIdx="2" clrIdx="0">
    <p:extLst>
      <p:ext uri="{19B8F6BF-5375-455C-9EA6-DF929625EA0E}">
        <p15:presenceInfo xmlns:p15="http://schemas.microsoft.com/office/powerpoint/2012/main" userId="c1cc907eb12783fe" providerId="Windows Live"/>
      </p:ext>
    </p:extLst>
  </p:cmAuthor>
  <p:cmAuthor id="2" name="AC" initials="A" lastIdx="13" clrIdx="1">
    <p:extLst>
      <p:ext uri="{19B8F6BF-5375-455C-9EA6-DF929625EA0E}">
        <p15:presenceInfo xmlns:p15="http://schemas.microsoft.com/office/powerpoint/2012/main" userId="AC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64D"/>
    <a:srgbClr val="747474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0EE1D2-C45A-4579-80F0-C4BA900C6FCF}" v="66" dt="2022-07-08T12:04:51.888"/>
    <p1510:client id="{1987F1FC-6408-9FC5-71AD-E708CA3BCF4F}" v="7" dt="2022-07-08T08:49:05.912"/>
    <p1510:client id="{1D269972-A7AD-4520-A8EB-E356448074D7}" v="1" dt="2022-07-12T14:27:19.944"/>
    <p1510:client id="{21CD4558-37C2-452F-877E-7F666EC58CCE}" v="92" dt="2022-07-12T08:19:48.479"/>
    <p1510:client id="{2C759B57-AC6E-4306-9D85-AC84A9DDBF68}" v="31" dt="2022-07-08T11:36:09.754"/>
    <p1510:client id="{557BE660-526F-4D15-8AA1-25212DE46D8E}" v="320" dt="2022-07-12T07:54:12.979"/>
    <p1510:client id="{65F181C7-CE05-4116-8315-660DA8CE5EFC}" v="35" dt="2022-08-15T14:15:35.277"/>
    <p1510:client id="{CB90E417-7E9E-4B17-9C9A-0C69A49FB9CD}" v="38" dt="2022-08-15T08:15:37.4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0" d="100"/>
          <a:sy n="90" d="100"/>
        </p:scale>
        <p:origin x="732" y="-76"/>
      </p:cViewPr>
      <p:guideLst>
        <p:guide orient="horz" pos="191"/>
        <p:guide orient="horz" pos="1461"/>
        <p:guide orient="horz" pos="2867"/>
        <p:guide orient="horz" pos="2958"/>
        <p:guide pos="2789"/>
        <p:guide pos="5534"/>
        <p:guide pos="183"/>
        <p:guide orient="horz" pos="554"/>
        <p:guide pos="181"/>
        <p:guide pos="292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font" Target="fonts/font4.fntdata"/><Relationship Id="rId50" Type="http://schemas.openxmlformats.org/officeDocument/2006/relationships/commentAuthors" Target="commentAuthors.xml"/><Relationship Id="rId55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font" Target="fonts/font2.fntdata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1.fntdata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5.fntdata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3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33A24-34D0-4CB6-840C-9A385F5738CF}" type="datetimeFigureOut">
              <a:rPr lang="en-US" smtClean="0"/>
              <a:t>8/2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3CEB81-BC61-4A84-8DAE-DBAB1497A1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1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spcBef>
        <a:spcPts val="600"/>
      </a:spcBef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4013" indent="-1714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6575" indent="-182563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841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4281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3276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393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7259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8989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337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7965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8018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1186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146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698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1766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0607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6271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9776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9486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2094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954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5933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911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456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5160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4053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728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8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8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1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1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G, Logo whit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538989"/>
            <a:ext cx="8268026" cy="1527533"/>
          </a:xfrm>
        </p:spPr>
        <p:txBody>
          <a:bodyPr anchor="b"/>
          <a:lstStyle>
            <a:lvl1pPr>
              <a:defRPr sz="10000"/>
            </a:lvl1pPr>
          </a:lstStyle>
          <a:p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 baseline="0"/>
            </a:lvl1pPr>
          </a:lstStyle>
          <a:p>
            <a:pPr lvl="0"/>
            <a:r>
              <a:rPr lang="de-DE"/>
              <a:t>interna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G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" y="3176"/>
            <a:ext cx="9143526" cy="514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35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49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84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br>
              <a:rPr lang="de-DE" sz="1000" b="0" noProof="0">
                <a:solidFill>
                  <a:schemeClr val="bg1"/>
                </a:solidFill>
              </a:rPr>
            </a:br>
            <a:br>
              <a:rPr lang="de-DE" sz="1000" b="0" noProof="0">
                <a:solidFill>
                  <a:schemeClr val="bg1"/>
                </a:solidFill>
              </a:rPr>
            </a:b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42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74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52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br>
              <a:rPr lang="de-DE" sz="1000" b="0" noProof="0">
                <a:solidFill>
                  <a:schemeClr val="bg1"/>
                </a:solidFill>
              </a:rPr>
            </a:br>
            <a:br>
              <a:rPr lang="de-DE" sz="1000" b="0" noProof="0">
                <a:solidFill>
                  <a:schemeClr val="bg1"/>
                </a:solidFill>
              </a:rPr>
            </a:b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582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273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 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701986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64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143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914400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Insert image</a:t>
            </a:r>
            <a:br>
              <a:rPr lang="de-DE"/>
            </a:br>
            <a:br>
              <a:rPr lang="de-DE"/>
            </a:br>
            <a:r>
              <a:rPr lang="en-GB"/>
              <a:t>If required, use “Reset slide” command to restore layer order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337" y="1131888"/>
            <a:ext cx="4140201" cy="32410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91661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 and content on imag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ext color depending on image content. Switch between blue and white possible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void inflationary usage.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6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594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522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16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49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 </a:t>
            </a:r>
            <a:b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ith imag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4645225" y="1131888"/>
            <a:ext cx="4140000" cy="3240000"/>
          </a:xfrm>
          <a:solidFill>
            <a:schemeClr val="bg1">
              <a:lumMod val="75000"/>
            </a:schemeClr>
          </a:solidFill>
        </p:spPr>
        <p:txBody>
          <a:bodyPr lIns="180000" t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94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H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de-DE" sz="4800" b="1" i="0" baseline="0">
              <a:solidFill>
                <a:schemeClr val="tx1"/>
              </a:solidFill>
              <a:latin typeface="Lufthansa Office Head" panose="020B0404040000000004" pitchFamily="34" charset="0"/>
              <a:ea typeface="+mn-ea"/>
              <a:cs typeface="+mn-cs"/>
              <a:sym typeface="Lufthansa Office Head" panose="020B04040400000000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776678"/>
            <a:ext cx="4126239" cy="1273843"/>
          </a:xfrm>
          <a:solidFill>
            <a:schemeClr val="bg1">
              <a:alpha val="80000"/>
            </a:schemeClr>
          </a:solidFill>
          <a:effectLst/>
        </p:spPr>
        <p:txBody>
          <a:bodyPr vert="horz" wrap="square" lIns="180000" tIns="144000" rIns="180000" bIns="108000" rtlCol="0" anchor="b" anchorCtr="0">
            <a:spAutoFit/>
          </a:bodyPr>
          <a:lstStyle>
            <a:lvl1pPr>
              <a:defRPr lang="en-US" sz="7200" baseline="0" dirty="0">
                <a:effectLst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</a:pPr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/>
            </a:lvl1pPr>
          </a:lstStyle>
          <a:p>
            <a:pPr lvl="0"/>
            <a:r>
              <a:rPr lang="de-DE"/>
              <a:t>Labe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H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5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72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faltete Ecke 4"/>
          <p:cNvSpPr/>
          <p:nvPr userDrawn="1"/>
        </p:nvSpPr>
        <p:spPr>
          <a:xfrm>
            <a:off x="-1144836" y="288926"/>
            <a:ext cx="1073161" cy="257576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Image only 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>
              <a:lumMod val="75000"/>
            </a:schemeClr>
          </a:solidFill>
          <a:ln w="6350">
            <a:noFill/>
            <a:miter lim="800000"/>
          </a:ln>
        </p:spPr>
        <p:txBody>
          <a:bodyPr tIns="1800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9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880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Final slide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ter your contact details her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97274" y="2181429"/>
            <a:ext cx="3718560" cy="110905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Your presenter was: &lt;name&gt;</a:t>
            </a:r>
            <a:br>
              <a:rPr lang="en-US"/>
            </a:br>
            <a:r>
              <a:rPr lang="en-US"/>
              <a:t>&lt;name&gt;@lhsystems.com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604560" y="1223487"/>
            <a:ext cx="6096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4800" baseline="0" noProof="0">
                <a:solidFill>
                  <a:schemeClr val="accent5"/>
                </a:solidFill>
              </a:rPr>
              <a:t>→</a:t>
            </a:r>
            <a:endParaRPr lang="de-DE" sz="4800">
              <a:solidFill>
                <a:schemeClr val="accent5"/>
              </a:solidFill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4097274" y="1418654"/>
            <a:ext cx="2838994" cy="374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indent="0">
              <a:lnSpc>
                <a:spcPct val="98000"/>
              </a:lnSpc>
              <a:spcBef>
                <a:spcPts val="0"/>
              </a:spcBef>
              <a:spcAft>
                <a:spcPts val="1800"/>
              </a:spcAft>
              <a:buSzPct val="90000"/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lvl="1" indent="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2pPr>
            <a:lvl3pPr marL="144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3pPr>
            <a:lvl4pPr marL="288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4pPr>
            <a:lvl5pPr marL="432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 sz="2000" baseline="0">
                <a:solidFill>
                  <a:schemeClr val="tx2"/>
                </a:solidFill>
              </a:rPr>
              <a:t>Contact</a:t>
            </a:r>
            <a:endParaRPr lang="de-DE" sz="2000">
              <a:solidFill>
                <a:schemeClr val="tx2"/>
              </a:solidFill>
            </a:endParaRPr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2" hasCustomPrompt="1"/>
          </p:nvPr>
        </p:nvSpPr>
        <p:spPr>
          <a:xfrm>
            <a:off x="1554782" y="1130481"/>
            <a:ext cx="1620000" cy="2160000"/>
          </a:xfrm>
          <a:solidFill>
            <a:schemeClr val="bg2"/>
          </a:solidFill>
        </p:spPr>
        <p:txBody>
          <a:bodyPr lIns="180000" tIns="180000" rIns="180000" b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Portrait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1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840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7"/>
          </a:xfrm>
          <a:solidFill>
            <a:schemeClr val="accent1">
              <a:lumMod val="75000"/>
            </a:schemeClr>
          </a:solidFill>
          <a:ln w="6350">
            <a:noFill/>
            <a:miter lim="800000"/>
          </a:ln>
        </p:spPr>
        <p:txBody>
          <a:bodyPr tIns="1224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image</a:t>
            </a:r>
            <a:br>
              <a:rPr lang="en-US"/>
            </a:br>
            <a:br>
              <a:rPr lang="en-US"/>
            </a:br>
            <a:r>
              <a:rPr lang="en-US"/>
              <a:t>If required, use “Reset slide” command to restore layer order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3379370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1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Adjust text frame width and optimize vertical position for image content.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f required yellow arrow, not bold, as final character in the text box</a:t>
            </a:r>
            <a:r>
              <a:rPr lang="en-US" sz="1000" baseline="0" noProof="0">
                <a:solidFill>
                  <a:schemeClr val="accent5"/>
                </a:solidFill>
              </a:rPr>
              <a:t>→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de-DE" sz="1000" b="0" baseline="0" noProof="0">
              <a:solidFill>
                <a:schemeClr val="bg1"/>
              </a:solidFill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286634" y="3365060"/>
            <a:ext cx="6357322" cy="934006"/>
          </a:xfrm>
          <a:solidFill>
            <a:schemeClr val="bg1">
              <a:alpha val="80000"/>
            </a:schemeClr>
          </a:solidFill>
          <a:effectLst/>
        </p:spPr>
        <p:txBody>
          <a:bodyPr wrap="square" lIns="180000" tIns="144000" rIns="180000" bIns="10800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4800" b="1" baseline="0">
                <a:solidFill>
                  <a:schemeClr val="tx2"/>
                </a:solidFill>
                <a:effectLst/>
                <a:latin typeface="+mj-lt"/>
              </a:defRPr>
            </a:lvl1pPr>
            <a:lvl2pPr>
              <a:defRPr sz="1000" baseline="0"/>
            </a:lvl2pPr>
          </a:lstStyle>
          <a:p>
            <a:pPr lvl="0"/>
            <a:r>
              <a:rPr lang="de-DE"/>
              <a:t>Enter title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59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2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51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46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0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-catching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22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3</a:t>
            </a: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eye-catching text</a:t>
            </a:r>
          </a:p>
          <a:p>
            <a:endParaRPr lang="de-DE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177"/>
            <a:ext cx="8497887" cy="4548186"/>
          </a:xfrm>
        </p:spPr>
        <p:txBody>
          <a:bodyPr tIns="180000"/>
          <a:lstStyle>
            <a:lvl1pPr>
              <a:lnSpc>
                <a:spcPct val="92000"/>
              </a:lnSpc>
              <a:spcBef>
                <a:spcPts val="0"/>
              </a:spcBef>
              <a:defRPr sz="960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9600" b="1">
                <a:solidFill>
                  <a:schemeClr val="accent5"/>
                </a:solidFill>
                <a:latin typeface="+mj-lt"/>
              </a:defRPr>
            </a:lvl2pPr>
          </a:lstStyle>
          <a:p>
            <a:pPr lvl="0"/>
            <a:r>
              <a:rPr lang="de-DE"/>
              <a:t>Headline </a:t>
            </a:r>
          </a:p>
          <a:p>
            <a:pPr lvl="1"/>
            <a:r>
              <a:rPr lang="de-DE"/>
              <a:t>with highlight</a:t>
            </a:r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837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675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36" imgH="136" progId="TCLayout.ActiveDocument.1">
                  <p:embed/>
                </p:oleObj>
              </mc:Choice>
              <mc:Fallback>
                <p:oleObj name="think-cell Folie" r:id="rId3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03212"/>
            <a:ext cx="8497887" cy="4248151"/>
          </a:xfrm>
        </p:spPr>
        <p:txBody>
          <a:bodyPr vert="horz" lIns="0" tIns="180000" rIns="0" bIns="0" rtlCol="0">
            <a:normAutofit/>
          </a:bodyPr>
          <a:lstStyle>
            <a:lvl1pPr>
              <a:defRPr lang="en-US" sz="50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GB"/>
              <a:t>Edit title master format by clicking</a:t>
            </a:r>
            <a:r>
              <a:rPr lang="de-DE"/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de-DE"/>
              <a:t>Format </a:t>
            </a:r>
            <a:r>
              <a:rPr lang="de-DE" err="1"/>
              <a:t>highlighting</a:t>
            </a:r>
            <a:r>
              <a:rPr lang="de-DE"/>
              <a:t> yellow.</a:t>
            </a:r>
            <a:endParaRPr lang="en-US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078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3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89355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0" imgW="306" imgH="306" progId="TCLayout.ActiveDocument.1">
                  <p:embed/>
                </p:oleObj>
              </mc:Choice>
              <mc:Fallback>
                <p:oleObj name="think-cell Folie" r:id="rId40" imgW="306" imgH="30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4551364"/>
            <a:ext cx="9144000" cy="5921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287338" y="303212"/>
            <a:ext cx="8497886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aseline="0" noProof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287337" y="1131888"/>
            <a:ext cx="8497887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baseline="0" noProof="0"/>
              <a:t>Edit text master format</a:t>
            </a:r>
          </a:p>
          <a:p>
            <a:pPr lvl="1"/>
            <a:r>
              <a:rPr lang="en-US" baseline="0" noProof="0"/>
              <a:t>Second level</a:t>
            </a:r>
          </a:p>
          <a:p>
            <a:pPr lvl="2"/>
            <a:r>
              <a:rPr lang="en-US" baseline="0" noProof="0"/>
              <a:t>Third </a:t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3"/>
            <a:r>
              <a:rPr lang="en-US" baseline="0" noProof="0"/>
              <a:t>Fourth </a:t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4"/>
            <a:r>
              <a:rPr lang="en-US" baseline="0" noProof="0"/>
              <a:t>Fifth </a:t>
            </a:r>
            <a:br>
              <a:rPr lang="de-DE" noProof="0"/>
            </a:br>
            <a:r>
              <a:rPr lang="en-US" baseline="0" noProof="0"/>
              <a:t>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307299" y="-306362"/>
            <a:ext cx="9758597" cy="5756223"/>
            <a:chOff x="-304772" y="-314795"/>
            <a:chExt cx="9758597" cy="5756223"/>
          </a:xfrm>
        </p:grpSpPr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6A4B85B4-68BC-E648-8843-017691F21E3E}"/>
                </a:ext>
              </a:extLst>
            </p:cNvPr>
            <p:cNvCxnSpPr/>
            <p:nvPr userDrawn="1"/>
          </p:nvCxnSpPr>
          <p:spPr>
            <a:xfrm>
              <a:off x="287338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11FA0CE3-AC89-214A-81A3-B75B33C8A368}"/>
                </a:ext>
              </a:extLst>
            </p:cNvPr>
            <p:cNvCxnSpPr/>
            <p:nvPr userDrawn="1"/>
          </p:nvCxnSpPr>
          <p:spPr>
            <a:xfrm>
              <a:off x="879241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701185C6-F54B-E44B-8783-D6BED525B1E0}"/>
                </a:ext>
              </a:extLst>
            </p:cNvPr>
            <p:cNvCxnSpPr/>
            <p:nvPr userDrawn="1"/>
          </p:nvCxnSpPr>
          <p:spPr>
            <a:xfrm>
              <a:off x="287338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1321FAA2-8F21-5D45-9769-5293070834FF}"/>
                </a:ext>
              </a:extLst>
            </p:cNvPr>
            <p:cNvCxnSpPr/>
            <p:nvPr userDrawn="1"/>
          </p:nvCxnSpPr>
          <p:spPr>
            <a:xfrm>
              <a:off x="879241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DD5002F-AE66-C84A-93D6-CA86C2E94E16}"/>
                </a:ext>
              </a:extLst>
            </p:cNvPr>
            <p:cNvCxnSpPr/>
            <p:nvPr userDrawn="1"/>
          </p:nvCxnSpPr>
          <p:spPr>
            <a:xfrm rot="16200000">
              <a:off x="-214831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BC35B175-79EF-9E47-923C-42D734994F26}"/>
                </a:ext>
              </a:extLst>
            </p:cNvPr>
            <p:cNvCxnSpPr/>
            <p:nvPr userDrawn="1"/>
          </p:nvCxnSpPr>
          <p:spPr>
            <a:xfrm rot="16200000">
              <a:off x="-214831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3F2AD518-6121-234C-890F-DDD0D17366C7}"/>
                </a:ext>
              </a:extLst>
            </p:cNvPr>
            <p:cNvCxnSpPr/>
            <p:nvPr userDrawn="1"/>
          </p:nvCxnSpPr>
          <p:spPr>
            <a:xfrm rot="16200000">
              <a:off x="-214831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9617ECB0-0FF3-614D-A47E-79581DCC28CA}"/>
                </a:ext>
              </a:extLst>
            </p:cNvPr>
            <p:cNvCxnSpPr/>
            <p:nvPr userDrawn="1"/>
          </p:nvCxnSpPr>
          <p:spPr>
            <a:xfrm rot="16200000">
              <a:off x="9363884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9541600B-2E00-0647-A078-E80A2BB5FF51}"/>
                </a:ext>
              </a:extLst>
            </p:cNvPr>
            <p:cNvCxnSpPr/>
            <p:nvPr userDrawn="1"/>
          </p:nvCxnSpPr>
          <p:spPr>
            <a:xfrm rot="16200000">
              <a:off x="9363884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915D047F-2C20-FC4C-9B98-1DAC0D07FE58}"/>
                </a:ext>
              </a:extLst>
            </p:cNvPr>
            <p:cNvCxnSpPr/>
            <p:nvPr userDrawn="1"/>
          </p:nvCxnSpPr>
          <p:spPr>
            <a:xfrm rot="16200000">
              <a:off x="9363884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43068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43068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B90DC164-8891-5445-964F-21C777296D37}"/>
                </a:ext>
              </a:extLst>
            </p:cNvPr>
            <p:cNvCxnSpPr/>
            <p:nvPr userDrawn="1"/>
          </p:nvCxnSpPr>
          <p:spPr>
            <a:xfrm rot="16200000">
              <a:off x="-214831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96BAB423-24E3-8A4F-B02A-26966A9F728B}"/>
                </a:ext>
              </a:extLst>
            </p:cNvPr>
            <p:cNvCxnSpPr/>
            <p:nvPr userDrawn="1"/>
          </p:nvCxnSpPr>
          <p:spPr>
            <a:xfrm rot="16200000">
              <a:off x="9363884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>
              <a:extLst>
                <a:ext uri="{FF2B5EF4-FFF2-40B4-BE49-F238E27FC236}">
                  <a16:creationId xmlns:a16="http://schemas.microsoft.com/office/drawing/2014/main" id="{EB62FA77-E2ED-3D4B-871B-4CBBB1E19EA9}"/>
                </a:ext>
              </a:extLst>
            </p:cNvPr>
            <p:cNvCxnSpPr/>
            <p:nvPr userDrawn="1"/>
          </p:nvCxnSpPr>
          <p:spPr>
            <a:xfrm rot="16200000">
              <a:off x="-214831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>
              <a:extLst>
                <a:ext uri="{FF2B5EF4-FFF2-40B4-BE49-F238E27FC236}">
                  <a16:creationId xmlns:a16="http://schemas.microsoft.com/office/drawing/2014/main" id="{72EF693D-81EF-9B45-9D9F-B24F5FF03A33}"/>
                </a:ext>
              </a:extLst>
            </p:cNvPr>
            <p:cNvCxnSpPr/>
            <p:nvPr userDrawn="1"/>
          </p:nvCxnSpPr>
          <p:spPr>
            <a:xfrm rot="16200000">
              <a:off x="9363884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646922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646922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18"/>
          <p:cNvSpPr txBox="1">
            <a:spLocks/>
          </p:cNvSpPr>
          <p:nvPr userDrawn="1"/>
        </p:nvSpPr>
        <p:spPr>
          <a:xfrm>
            <a:off x="2609625" y="4778880"/>
            <a:ext cx="1448891" cy="120674"/>
          </a:xfrm>
          <a:prstGeom prst="rect">
            <a:avLst/>
          </a:prstGeom>
        </p:spPr>
        <p:txBody>
          <a:bodyPr wrap="square" lIns="144000" tIns="0" bIns="0">
            <a:sp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8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0"/>
              <a:t>Internal</a:t>
            </a:r>
            <a:endParaRPr lang="en-US"/>
          </a:p>
        </p:txBody>
      </p:sp>
      <p:cxnSp>
        <p:nvCxnSpPr>
          <p:cNvPr id="31" name="Gerader Verbinder 30"/>
          <p:cNvCxnSpPr/>
          <p:nvPr userDrawn="1"/>
        </p:nvCxnSpPr>
        <p:spPr>
          <a:xfrm>
            <a:off x="2609625" y="4785217"/>
            <a:ext cx="0" cy="108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-398520" y="5216089"/>
            <a:ext cx="2887100" cy="509453"/>
            <a:chOff x="-398520" y="5216089"/>
            <a:chExt cx="2887100" cy="509453"/>
          </a:xfrm>
        </p:grpSpPr>
        <p:sp>
          <p:nvSpPr>
            <p:cNvPr id="39" name="Gleichschenkliges Dreieck 38"/>
            <p:cNvSpPr/>
            <p:nvPr userDrawn="1"/>
          </p:nvSpPr>
          <p:spPr>
            <a:xfrm>
              <a:off x="405269" y="5216089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>
            <a:xfrm>
              <a:off x="-398520" y="5345062"/>
              <a:ext cx="2887100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077913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footer directly in the 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="1" baseline="0" noProof="0">
                  <a:solidFill>
                    <a:schemeClr val="tx1"/>
                  </a:solidFill>
                </a:rPr>
                <a:t>“header and footer” </a:t>
              </a:r>
              <a:r>
                <a:rPr lang="en-US" sz="1000" b="0" baseline="0" noProof="0">
                  <a:solidFill>
                    <a:schemeClr val="tx1"/>
                  </a:solidFill>
                </a:rPr>
                <a:t>dialog</a:t>
              </a:r>
              <a:r>
                <a:rPr lang="en-US" sz="1000" baseline="0" noProof="0">
                  <a:solidFill>
                    <a:schemeClr val="tx1"/>
                  </a:solidFill>
                </a:rPr>
                <a:t>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Insert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7" name="Grafik 6"/>
            <p:cNvPicPr>
              <a:picLocks noChangeAspect="1"/>
            </p:cNvPicPr>
            <p:nvPr userDrawn="1"/>
          </p:nvPicPr>
          <p:blipFill>
            <a:blip r:embed="rId4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07307" y="5376460"/>
              <a:ext cx="241440" cy="317685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 userDrawn="1"/>
        </p:nvGrpSpPr>
        <p:grpSpPr>
          <a:xfrm>
            <a:off x="2653913" y="5214398"/>
            <a:ext cx="2647255" cy="511144"/>
            <a:chOff x="2653913" y="5214398"/>
            <a:chExt cx="2647255" cy="511144"/>
          </a:xfrm>
        </p:grpSpPr>
        <p:sp>
          <p:nvSpPr>
            <p:cNvPr id="8" name="Gleichschenkliges Dreieck 7"/>
            <p:cNvSpPr/>
            <p:nvPr userDrawn="1"/>
          </p:nvSpPr>
          <p:spPr>
            <a:xfrm>
              <a:off x="279252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32" name="Rechteck 31"/>
            <p:cNvSpPr/>
            <p:nvPr userDrawn="1"/>
          </p:nvSpPr>
          <p:spPr>
            <a:xfrm>
              <a:off x="2653913" y="5345062"/>
              <a:ext cx="2647255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701800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label on </a:t>
              </a:r>
              <a:r>
                <a:rPr lang="en-US" sz="1000" b="1" baseline="0" noProof="0">
                  <a:solidFill>
                    <a:schemeClr val="tx1"/>
                  </a:solidFill>
                </a:rPr>
                <a:t>slide master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aseline="0" noProof="0">
                  <a:solidFill>
                    <a:schemeClr val="tx1"/>
                  </a:solidFill>
                </a:rPr>
                <a:t>at top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View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68087" y="5374703"/>
              <a:ext cx="208100" cy="321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577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26" r:id="rId3"/>
    <p:sldLayoutId id="2147483777" r:id="rId4"/>
    <p:sldLayoutId id="2147483778" r:id="rId5"/>
    <p:sldLayoutId id="2147483775" r:id="rId6"/>
    <p:sldLayoutId id="2147483776" r:id="rId7"/>
    <p:sldLayoutId id="2147483730" r:id="rId8"/>
    <p:sldLayoutId id="2147483739" r:id="rId9"/>
    <p:sldLayoutId id="2147483779" r:id="rId10"/>
    <p:sldLayoutId id="2147483780" r:id="rId11"/>
    <p:sldLayoutId id="2147483781" r:id="rId12"/>
    <p:sldLayoutId id="2147483742" r:id="rId13"/>
    <p:sldLayoutId id="2147483764" r:id="rId14"/>
    <p:sldLayoutId id="2147483743" r:id="rId15"/>
    <p:sldLayoutId id="2147483725" r:id="rId16"/>
    <p:sldLayoutId id="2147483757" r:id="rId17"/>
    <p:sldLayoutId id="2147483753" r:id="rId18"/>
    <p:sldLayoutId id="2147483754" r:id="rId19"/>
    <p:sldLayoutId id="2147483738" r:id="rId20"/>
    <p:sldLayoutId id="2147483759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82" r:id="rId30"/>
    <p:sldLayoutId id="2147483783" r:id="rId31"/>
    <p:sldLayoutId id="2147483784" r:id="rId32"/>
    <p:sldLayoutId id="2147483785" r:id="rId33"/>
    <p:sldLayoutId id="2147483744" r:id="rId34"/>
    <p:sldLayoutId id="2147483746" r:id="rId35"/>
    <p:sldLayoutId id="2147483756" r:id="rId36"/>
    <p:sldLayoutId id="214748376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89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91" userDrawn="1">
          <p15:clr>
            <a:srgbClr val="F26B43"/>
          </p15:clr>
        </p15:guide>
        <p15:guide id="6" orient="horz" pos="554" userDrawn="1">
          <p15:clr>
            <a:srgbClr val="F26B43"/>
          </p15:clr>
        </p15:guide>
        <p15:guide id="7" orient="horz" pos="713" userDrawn="1">
          <p15:clr>
            <a:srgbClr val="F26B43"/>
          </p15:clr>
        </p15:guide>
        <p15:guide id="8" orient="horz" pos="2867" userDrawn="1">
          <p15:clr>
            <a:srgbClr val="F26B43"/>
          </p15:clr>
        </p15:guide>
        <p15:guide id="9" orient="horz" pos="2958" userDrawn="1">
          <p15:clr>
            <a:srgbClr val="F26B43"/>
          </p15:clr>
        </p15:guide>
        <p15:guide id="10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4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7.x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3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8.x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35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9.x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3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4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1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44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45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3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46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47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6.xml"/><Relationship Id="rId6" Type="http://schemas.openxmlformats.org/officeDocument/2006/relationships/image" Target="../media/image38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8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9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39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1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0.xml"/><Relationship Id="rId5" Type="http://schemas.openxmlformats.org/officeDocument/2006/relationships/image" Target="../media/image40.emf"/><Relationship Id="rId4" Type="http://schemas.openxmlformats.org/officeDocument/2006/relationships/oleObject" Target="../embeddings/oleObject52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1.xml"/><Relationship Id="rId5" Type="http://schemas.openxmlformats.org/officeDocument/2006/relationships/image" Target="../media/image40.emf"/><Relationship Id="rId4" Type="http://schemas.openxmlformats.org/officeDocument/2006/relationships/oleObject" Target="../embeddings/oleObject53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2.xml"/><Relationship Id="rId6" Type="http://schemas.openxmlformats.org/officeDocument/2006/relationships/image" Target="../media/image4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246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87338" y="266648"/>
            <a:ext cx="8497887" cy="2465460"/>
          </a:xfrm>
          <a:solidFill>
            <a:srgbClr val="002060"/>
          </a:solidFill>
        </p:spPr>
        <p:txBody>
          <a:bodyPr wrap="square">
            <a:spAutoFit/>
          </a:bodyPr>
          <a:lstStyle/>
          <a:p>
            <a:r>
              <a:rPr lang="de-DE" sz="8000" dirty="0">
                <a:solidFill>
                  <a:schemeClr val="bg1"/>
                </a:solidFill>
                <a:latin typeface="Lufthansa Office Head"/>
              </a:rPr>
              <a:t>Lunch break 13:00-14:00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234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7C0C4C-279A-44CD-B0A8-D6344E7F9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6BBEED-0EF7-4060-AD98-60CD3AEAF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pPr/>
              <a:t>11</a:t>
            </a:fld>
            <a:endParaRPr lang="de-DE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F5EFFFFA-50DA-476C-9395-B6D3F995C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9618619"/>
              </p:ext>
            </p:extLst>
          </p:nvPr>
        </p:nvGraphicFramePr>
        <p:xfrm>
          <a:off x="290377" y="514559"/>
          <a:ext cx="8469537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9537">
                  <a:extLst>
                    <a:ext uri="{9D8B030D-6E8A-4147-A177-3AD203B41FA5}">
                      <a16:colId xmlns:a16="http://schemas.microsoft.com/office/drawing/2014/main" val="3796387301"/>
                    </a:ext>
                  </a:extLst>
                </a:gridCol>
              </a:tblGrid>
              <a:tr h="448397">
                <a:tc>
                  <a:txBody>
                    <a:bodyPr/>
                    <a:lstStyle/>
                    <a:p>
                      <a:r>
                        <a:rPr lang="de-DE" sz="2400" baseline="0" dirty="0"/>
                        <a:t>Agenda Sept 01, 2022 Main </a:t>
                      </a:r>
                      <a:r>
                        <a:rPr lang="de-DE" sz="2400" baseline="0" dirty="0" err="1"/>
                        <a:t>stage</a:t>
                      </a:r>
                      <a:r>
                        <a:rPr lang="de-DE" sz="2400" baseline="0" dirty="0"/>
                        <a:t> </a:t>
                      </a:r>
                      <a:r>
                        <a:rPr lang="de-DE" sz="2400" baseline="0" dirty="0" err="1"/>
                        <a:t>ÖbölHáz</a:t>
                      </a:r>
                      <a:r>
                        <a:rPr lang="de-DE" sz="2400" baseline="0" dirty="0"/>
                        <a:t> Event </a:t>
                      </a:r>
                      <a:r>
                        <a:rPr lang="de-DE" sz="2400" b="1" kern="1200" baseline="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ntre</a:t>
                      </a:r>
                      <a:endParaRPr lang="de-DE" sz="2400" b="1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830573"/>
                  </a:ext>
                </a:extLst>
              </a:tr>
            </a:tbl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62027" y="3769723"/>
            <a:ext cx="8497887" cy="701537"/>
          </a:xfrm>
        </p:spPr>
        <p:txBody>
          <a:bodyPr/>
          <a:lstStyle/>
          <a:p>
            <a:br>
              <a:rPr lang="de-DE" sz="1800">
                <a:solidFill>
                  <a:schemeClr val="accent6">
                    <a:lumMod val="90000"/>
                    <a:lumOff val="10000"/>
                  </a:schemeClr>
                </a:solidFill>
              </a:rPr>
            </a:br>
            <a:endParaRPr lang="de-DE" sz="180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0844419"/>
              </p:ext>
            </p:extLst>
          </p:nvPr>
        </p:nvGraphicFramePr>
        <p:xfrm>
          <a:off x="262027" y="1035199"/>
          <a:ext cx="8472577" cy="3462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9987">
                  <a:extLst>
                    <a:ext uri="{9D8B030D-6E8A-4147-A177-3AD203B41FA5}">
                      <a16:colId xmlns:a16="http://schemas.microsoft.com/office/drawing/2014/main" val="3725990739"/>
                    </a:ext>
                  </a:extLst>
                </a:gridCol>
                <a:gridCol w="7302590">
                  <a:extLst>
                    <a:ext uri="{9D8B030D-6E8A-4147-A177-3AD203B41FA5}">
                      <a16:colId xmlns:a16="http://schemas.microsoft.com/office/drawing/2014/main" val="730208506"/>
                    </a:ext>
                  </a:extLst>
                </a:gridCol>
              </a:tblGrid>
              <a:tr h="35625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5:15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Introducing</a:t>
                      </a:r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b="1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b="1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Github</a:t>
                      </a:r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Enterpris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Chris Reddington, Senior Enterprise Advocate, GitHub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824132"/>
                  </a:ext>
                </a:extLst>
              </a:tr>
              <a:tr h="3558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Coffee break</a:t>
                      </a:r>
                      <a:endParaRPr lang="de-DE" sz="18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6725876"/>
                  </a:ext>
                </a:extLst>
              </a:tr>
              <a:tr h="75880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6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baseline="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Serverless</a:t>
                      </a:r>
                      <a:r>
                        <a:rPr lang="en-US" sz="1800" b="1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architecture in OPSD Gustavo Kuhn </a:t>
                      </a:r>
                      <a:r>
                        <a:rPr lang="en-US" sz="1800" b="1" kern="1200" baseline="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Andriotti</a:t>
                      </a:r>
                      <a:r>
                        <a:rPr lang="en-US" sz="1800" b="1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, Strategic Cloud Engineer, Google Cloud Professional Servi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2605817"/>
                  </a:ext>
                </a:extLst>
              </a:tr>
              <a:tr h="41813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7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Closing, end of the official event</a:t>
                      </a:r>
                      <a:endParaRPr lang="de-DE" sz="18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8067120"/>
                  </a:ext>
                </a:extLst>
              </a:tr>
              <a:tr h="35625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7:30 -1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Market place will be open until the evening event starts</a:t>
                      </a:r>
                      <a:endParaRPr lang="de-DE" sz="1800" b="1" i="0" u="none" strike="noStrike" dirty="0">
                        <a:solidFill>
                          <a:srgbClr val="002060"/>
                        </a:solidFill>
                        <a:effectLst/>
                        <a:latin typeface="Lufthansa Office Text" panose="020B04040400000000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822542"/>
                  </a:ext>
                </a:extLst>
              </a:tr>
              <a:tr h="62344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9:00 -2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Evening event &amp; network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Spoon the Boat, 1052. Budapest, </a:t>
                      </a:r>
                      <a:r>
                        <a:rPr lang="en-US" sz="1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Vigadó</a:t>
                      </a:r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 </a:t>
                      </a:r>
                      <a:r>
                        <a:rPr lang="en-US" sz="1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squere</a:t>
                      </a:r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 3. Por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6832739"/>
                  </a:ext>
                </a:extLst>
              </a:tr>
            </a:tbl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160" y="1638126"/>
            <a:ext cx="437327" cy="437327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 rot="688879">
            <a:off x="7684752" y="345138"/>
            <a:ext cx="125334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2000" dirty="0">
                <a:solidFill>
                  <a:srgbClr val="FF0000"/>
                </a:solidFill>
              </a:rPr>
              <a:t>Needs </a:t>
            </a:r>
            <a:r>
              <a:rPr lang="de-DE" sz="2000" dirty="0" err="1">
                <a:solidFill>
                  <a:srgbClr val="FF0000"/>
                </a:solidFill>
              </a:rPr>
              <a:t>to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b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ross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hecked</a:t>
            </a:r>
            <a:r>
              <a:rPr lang="de-DE" sz="2000" dirty="0">
                <a:solidFill>
                  <a:srgbClr val="FF0000"/>
                </a:solidFill>
              </a:rPr>
              <a:t> just </a:t>
            </a:r>
            <a:r>
              <a:rPr lang="de-DE" sz="2000" dirty="0" err="1">
                <a:solidFill>
                  <a:srgbClr val="FF0000"/>
                </a:solidFill>
              </a:rPr>
              <a:t>befor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th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event</a:t>
            </a: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8728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7C0C4C-279A-44CD-B0A8-D6344E7F9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6BBEED-0EF7-4060-AD98-60CD3AEAF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pPr/>
              <a:t>12</a:t>
            </a:fld>
            <a:endParaRPr lang="de-DE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F5EFFFFA-50DA-476C-9395-B6D3F995C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45614"/>
              </p:ext>
            </p:extLst>
          </p:nvPr>
        </p:nvGraphicFramePr>
        <p:xfrm>
          <a:off x="290377" y="514559"/>
          <a:ext cx="8469537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9537">
                  <a:extLst>
                    <a:ext uri="{9D8B030D-6E8A-4147-A177-3AD203B41FA5}">
                      <a16:colId xmlns:a16="http://schemas.microsoft.com/office/drawing/2014/main" val="3796387301"/>
                    </a:ext>
                  </a:extLst>
                </a:gridCol>
              </a:tblGrid>
              <a:tr h="448397">
                <a:tc>
                  <a:txBody>
                    <a:bodyPr/>
                    <a:lstStyle/>
                    <a:p>
                      <a:r>
                        <a:rPr lang="de-DE" sz="2400" baseline="0" dirty="0"/>
                        <a:t>Agenda Sept 01, 2022 15:15 h LSY </a:t>
                      </a:r>
                      <a:r>
                        <a:rPr lang="de-DE" sz="2400" baseline="0" dirty="0" err="1"/>
                        <a:t>Hungary</a:t>
                      </a:r>
                      <a:r>
                        <a:rPr lang="de-DE" sz="2400" baseline="0" dirty="0"/>
                        <a:t> </a:t>
                      </a:r>
                      <a:r>
                        <a:rPr lang="de-DE" sz="2400" baseline="0" dirty="0" err="1"/>
                        <a:t>office</a:t>
                      </a:r>
                      <a:r>
                        <a:rPr lang="de-DE" sz="2400" baseline="0" dirty="0"/>
                        <a:t>: </a:t>
                      </a:r>
                      <a:endParaRPr lang="de-DE" sz="2400" b="1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830573"/>
                  </a:ext>
                </a:extLst>
              </a:tr>
            </a:tbl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62027" y="3769723"/>
            <a:ext cx="8497887" cy="701537"/>
          </a:xfrm>
        </p:spPr>
        <p:txBody>
          <a:bodyPr/>
          <a:lstStyle/>
          <a:p>
            <a:br>
              <a:rPr lang="de-DE" sz="1800">
                <a:solidFill>
                  <a:schemeClr val="accent6">
                    <a:lumMod val="90000"/>
                    <a:lumOff val="10000"/>
                  </a:schemeClr>
                </a:solidFill>
              </a:rPr>
            </a:br>
            <a:endParaRPr lang="de-DE" sz="180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 rot="688879">
            <a:off x="7684752" y="345138"/>
            <a:ext cx="125334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2000" dirty="0">
                <a:solidFill>
                  <a:srgbClr val="FF0000"/>
                </a:solidFill>
              </a:rPr>
              <a:t>Needs </a:t>
            </a:r>
            <a:r>
              <a:rPr lang="de-DE" sz="2000" dirty="0" err="1">
                <a:solidFill>
                  <a:srgbClr val="FF0000"/>
                </a:solidFill>
              </a:rPr>
              <a:t>to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b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ross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hecked</a:t>
            </a:r>
            <a:r>
              <a:rPr lang="de-DE" sz="2000" dirty="0">
                <a:solidFill>
                  <a:srgbClr val="FF0000"/>
                </a:solidFill>
              </a:rPr>
              <a:t> just </a:t>
            </a:r>
            <a:r>
              <a:rPr lang="de-DE" sz="2000" dirty="0" err="1">
                <a:solidFill>
                  <a:srgbClr val="FF0000"/>
                </a:solidFill>
              </a:rPr>
              <a:t>befor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th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event</a:t>
            </a: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337" y="1250522"/>
            <a:ext cx="8368331" cy="261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628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7C0C4C-279A-44CD-B0A8-D6344E7F9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6BBEED-0EF7-4060-AD98-60CD3AEAF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pPr/>
              <a:t>13</a:t>
            </a:fld>
            <a:endParaRPr lang="de-DE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F5EFFFFA-50DA-476C-9395-B6D3F995C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45614"/>
              </p:ext>
            </p:extLst>
          </p:nvPr>
        </p:nvGraphicFramePr>
        <p:xfrm>
          <a:off x="290377" y="514559"/>
          <a:ext cx="8469537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9537">
                  <a:extLst>
                    <a:ext uri="{9D8B030D-6E8A-4147-A177-3AD203B41FA5}">
                      <a16:colId xmlns:a16="http://schemas.microsoft.com/office/drawing/2014/main" val="3796387301"/>
                    </a:ext>
                  </a:extLst>
                </a:gridCol>
              </a:tblGrid>
              <a:tr h="448397">
                <a:tc>
                  <a:txBody>
                    <a:bodyPr/>
                    <a:lstStyle/>
                    <a:p>
                      <a:r>
                        <a:rPr lang="de-DE" sz="2400" baseline="0" dirty="0"/>
                        <a:t>Agenda Sept 01, 2022 15:15 h LSY </a:t>
                      </a:r>
                      <a:r>
                        <a:rPr lang="de-DE" sz="2400" baseline="0" dirty="0" err="1"/>
                        <a:t>Hungary</a:t>
                      </a:r>
                      <a:r>
                        <a:rPr lang="de-DE" sz="2400" baseline="0" dirty="0"/>
                        <a:t> </a:t>
                      </a:r>
                      <a:r>
                        <a:rPr lang="de-DE" sz="2400" baseline="0" dirty="0" err="1"/>
                        <a:t>office</a:t>
                      </a:r>
                      <a:r>
                        <a:rPr lang="de-DE" sz="2400" baseline="0" dirty="0"/>
                        <a:t>: </a:t>
                      </a:r>
                      <a:endParaRPr lang="de-DE" sz="2400" b="1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830573"/>
                  </a:ext>
                </a:extLst>
              </a:tr>
            </a:tbl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62027" y="3769723"/>
            <a:ext cx="8497887" cy="701537"/>
          </a:xfrm>
        </p:spPr>
        <p:txBody>
          <a:bodyPr/>
          <a:lstStyle/>
          <a:p>
            <a:br>
              <a:rPr lang="de-DE" sz="1800">
                <a:solidFill>
                  <a:schemeClr val="accent6">
                    <a:lumMod val="90000"/>
                    <a:lumOff val="10000"/>
                  </a:schemeClr>
                </a:solidFill>
              </a:rPr>
            </a:br>
            <a:endParaRPr lang="de-DE" sz="180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 rot="688879">
            <a:off x="7684752" y="345138"/>
            <a:ext cx="125334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2000" dirty="0">
                <a:solidFill>
                  <a:srgbClr val="FF0000"/>
                </a:solidFill>
              </a:rPr>
              <a:t>Needs </a:t>
            </a:r>
            <a:r>
              <a:rPr lang="de-DE" sz="2000" dirty="0" err="1">
                <a:solidFill>
                  <a:srgbClr val="FF0000"/>
                </a:solidFill>
              </a:rPr>
              <a:t>to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b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ross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hecked</a:t>
            </a:r>
            <a:r>
              <a:rPr lang="de-DE" sz="2000" dirty="0">
                <a:solidFill>
                  <a:srgbClr val="FF0000"/>
                </a:solidFill>
              </a:rPr>
              <a:t> just </a:t>
            </a:r>
            <a:r>
              <a:rPr lang="de-DE" sz="2000" dirty="0" err="1">
                <a:solidFill>
                  <a:srgbClr val="FF0000"/>
                </a:solidFill>
              </a:rPr>
              <a:t>befor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th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event</a:t>
            </a: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337" y="1202485"/>
            <a:ext cx="657225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45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7C0C4C-279A-44CD-B0A8-D6344E7F9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6BBEED-0EF7-4060-AD98-60CD3AEAF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pPr/>
              <a:t>14</a:t>
            </a:fld>
            <a:endParaRPr lang="de-DE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F5EFFFFA-50DA-476C-9395-B6D3F995C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8009705"/>
              </p:ext>
            </p:extLst>
          </p:nvPr>
        </p:nvGraphicFramePr>
        <p:xfrm>
          <a:off x="290377" y="514559"/>
          <a:ext cx="8469537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9537">
                  <a:extLst>
                    <a:ext uri="{9D8B030D-6E8A-4147-A177-3AD203B41FA5}">
                      <a16:colId xmlns:a16="http://schemas.microsoft.com/office/drawing/2014/main" val="3796387301"/>
                    </a:ext>
                  </a:extLst>
                </a:gridCol>
              </a:tblGrid>
              <a:tr h="448397">
                <a:tc>
                  <a:txBody>
                    <a:bodyPr/>
                    <a:lstStyle/>
                    <a:p>
                      <a:r>
                        <a:rPr lang="de-DE" sz="2400" baseline="0" dirty="0"/>
                        <a:t>Agenda Sept 01, 2022 16:30 h LSY </a:t>
                      </a:r>
                      <a:r>
                        <a:rPr lang="de-DE" sz="2400" baseline="0" dirty="0" err="1"/>
                        <a:t>Hungary</a:t>
                      </a:r>
                      <a:r>
                        <a:rPr lang="de-DE" sz="2400" baseline="0" dirty="0"/>
                        <a:t> </a:t>
                      </a:r>
                      <a:r>
                        <a:rPr lang="de-DE" sz="2400" baseline="0" dirty="0" err="1"/>
                        <a:t>office</a:t>
                      </a:r>
                      <a:r>
                        <a:rPr lang="de-DE" sz="2400" baseline="0" dirty="0"/>
                        <a:t>: </a:t>
                      </a:r>
                      <a:endParaRPr lang="de-DE" sz="2400" b="1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830573"/>
                  </a:ext>
                </a:extLst>
              </a:tr>
            </a:tbl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62027" y="3769723"/>
            <a:ext cx="8497887" cy="701537"/>
          </a:xfrm>
        </p:spPr>
        <p:txBody>
          <a:bodyPr/>
          <a:lstStyle/>
          <a:p>
            <a:br>
              <a:rPr lang="de-DE" sz="1800">
                <a:solidFill>
                  <a:schemeClr val="accent6">
                    <a:lumMod val="90000"/>
                    <a:lumOff val="10000"/>
                  </a:schemeClr>
                </a:solidFill>
              </a:rPr>
            </a:br>
            <a:endParaRPr lang="de-DE" sz="180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 rot="688879">
            <a:off x="7750036" y="202317"/>
            <a:ext cx="125334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2000" dirty="0">
                <a:solidFill>
                  <a:srgbClr val="FF0000"/>
                </a:solidFill>
              </a:rPr>
              <a:t>Needs </a:t>
            </a:r>
            <a:r>
              <a:rPr lang="de-DE" sz="2000" dirty="0" err="1">
                <a:solidFill>
                  <a:srgbClr val="FF0000"/>
                </a:solidFill>
              </a:rPr>
              <a:t>to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b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ross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hecked</a:t>
            </a:r>
            <a:r>
              <a:rPr lang="de-DE" sz="2000" dirty="0">
                <a:solidFill>
                  <a:srgbClr val="FF0000"/>
                </a:solidFill>
              </a:rPr>
              <a:t> just </a:t>
            </a:r>
            <a:r>
              <a:rPr lang="de-DE" sz="2000" dirty="0" err="1">
                <a:solidFill>
                  <a:srgbClr val="FF0000"/>
                </a:solidFill>
              </a:rPr>
              <a:t>befor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th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event</a:t>
            </a: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350" y="1083806"/>
            <a:ext cx="8572564" cy="345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9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7C0C4C-279A-44CD-B0A8-D6344E7F9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6BBEED-0EF7-4060-AD98-60CD3AEAF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pPr/>
              <a:t>15</a:t>
            </a:fld>
            <a:endParaRPr lang="de-DE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F5EFFFFA-50DA-476C-9395-B6D3F995C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8009705"/>
              </p:ext>
            </p:extLst>
          </p:nvPr>
        </p:nvGraphicFramePr>
        <p:xfrm>
          <a:off x="290377" y="514559"/>
          <a:ext cx="8469537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9537">
                  <a:extLst>
                    <a:ext uri="{9D8B030D-6E8A-4147-A177-3AD203B41FA5}">
                      <a16:colId xmlns:a16="http://schemas.microsoft.com/office/drawing/2014/main" val="3796387301"/>
                    </a:ext>
                  </a:extLst>
                </a:gridCol>
              </a:tblGrid>
              <a:tr h="448397">
                <a:tc>
                  <a:txBody>
                    <a:bodyPr/>
                    <a:lstStyle/>
                    <a:p>
                      <a:r>
                        <a:rPr lang="de-DE" sz="2400" baseline="0" dirty="0"/>
                        <a:t>Agenda Sept 01, 2022 16:30 h LSY </a:t>
                      </a:r>
                      <a:r>
                        <a:rPr lang="de-DE" sz="2400" baseline="0" dirty="0" err="1"/>
                        <a:t>Hungary</a:t>
                      </a:r>
                      <a:r>
                        <a:rPr lang="de-DE" sz="2400" baseline="0" dirty="0"/>
                        <a:t> </a:t>
                      </a:r>
                      <a:r>
                        <a:rPr lang="de-DE" sz="2400" baseline="0" dirty="0" err="1"/>
                        <a:t>office</a:t>
                      </a:r>
                      <a:r>
                        <a:rPr lang="de-DE" sz="2400" baseline="0" dirty="0"/>
                        <a:t>: </a:t>
                      </a:r>
                      <a:endParaRPr lang="de-DE" sz="2400" b="1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830573"/>
                  </a:ext>
                </a:extLst>
              </a:tr>
            </a:tbl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62027" y="3769723"/>
            <a:ext cx="8497887" cy="701537"/>
          </a:xfrm>
        </p:spPr>
        <p:txBody>
          <a:bodyPr/>
          <a:lstStyle/>
          <a:p>
            <a:br>
              <a:rPr lang="de-DE" sz="1800">
                <a:solidFill>
                  <a:schemeClr val="accent6">
                    <a:lumMod val="90000"/>
                    <a:lumOff val="10000"/>
                  </a:schemeClr>
                </a:solidFill>
              </a:rPr>
            </a:br>
            <a:endParaRPr lang="de-DE" sz="180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 rot="688879">
            <a:off x="7750036" y="202317"/>
            <a:ext cx="125334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2000" dirty="0">
                <a:solidFill>
                  <a:srgbClr val="FF0000"/>
                </a:solidFill>
              </a:rPr>
              <a:t>Needs </a:t>
            </a:r>
            <a:r>
              <a:rPr lang="de-DE" sz="2000" dirty="0" err="1">
                <a:solidFill>
                  <a:srgbClr val="FF0000"/>
                </a:solidFill>
              </a:rPr>
              <a:t>to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b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ross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hecked</a:t>
            </a:r>
            <a:r>
              <a:rPr lang="de-DE" sz="2000" dirty="0">
                <a:solidFill>
                  <a:srgbClr val="FF0000"/>
                </a:solidFill>
              </a:rPr>
              <a:t> just </a:t>
            </a:r>
            <a:r>
              <a:rPr lang="de-DE" sz="2000" dirty="0" err="1">
                <a:solidFill>
                  <a:srgbClr val="FF0000"/>
                </a:solidFill>
              </a:rPr>
              <a:t>befor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th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event</a:t>
            </a: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337" y="997462"/>
            <a:ext cx="5787999" cy="3551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67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87338" y="266648"/>
            <a:ext cx="8497887" cy="1332842"/>
          </a:xfrm>
          <a:solidFill>
            <a:srgbClr val="002060"/>
          </a:solidFill>
        </p:spPr>
        <p:txBody>
          <a:bodyPr wrap="square">
            <a:spAutoFit/>
          </a:bodyPr>
          <a:lstStyle/>
          <a:p>
            <a:r>
              <a:rPr lang="de-DE" sz="8000" dirty="0">
                <a:solidFill>
                  <a:schemeClr val="bg1"/>
                </a:solidFill>
                <a:latin typeface="Lufthansa Office Head"/>
              </a:rPr>
              <a:t>Housekeeping</a:t>
            </a:r>
          </a:p>
        </p:txBody>
      </p:sp>
      <p:sp>
        <p:nvSpPr>
          <p:cNvPr id="7" name="Textplatzhalter 9"/>
          <p:cNvSpPr txBox="1">
            <a:spLocks/>
          </p:cNvSpPr>
          <p:nvPr/>
        </p:nvSpPr>
        <p:spPr>
          <a:xfrm>
            <a:off x="-2826" y="1755972"/>
            <a:ext cx="8788051" cy="2856490"/>
          </a:xfrm>
          <a:prstGeom prst="rect">
            <a:avLst/>
          </a:prstGeo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600" dirty="0">
                <a:solidFill>
                  <a:srgbClr val="05164D"/>
                </a:solidFill>
              </a:rPr>
              <a:t>Recording</a:t>
            </a:r>
            <a:endParaRPr lang="en-US" sz="1600" dirty="0">
              <a:solidFill>
                <a:srgbClr val="05164D"/>
              </a:solidFill>
            </a:endParaRPr>
          </a:p>
          <a:p>
            <a:r>
              <a:rPr lang="de-DE" sz="1600" b="0" dirty="0">
                <a:solidFill>
                  <a:srgbClr val="05164D"/>
                </a:solidFill>
              </a:rPr>
              <a:t>This MS Teams Call </a:t>
            </a:r>
            <a:r>
              <a:rPr lang="de-DE" sz="1600" b="0" dirty="0" err="1">
                <a:solidFill>
                  <a:srgbClr val="05164D"/>
                </a:solidFill>
              </a:rPr>
              <a:t>is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being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recorded</a:t>
            </a:r>
            <a:r>
              <a:rPr lang="de-DE" sz="1600" b="0" dirty="0">
                <a:solidFill>
                  <a:srgbClr val="05164D"/>
                </a:solidFill>
              </a:rPr>
              <a:t>. </a:t>
            </a:r>
            <a:endParaRPr lang="en-US" sz="1600" b="0" dirty="0">
              <a:solidFill>
                <a:srgbClr val="05164D"/>
              </a:solidFill>
            </a:endParaRPr>
          </a:p>
          <a:p>
            <a:r>
              <a:rPr lang="de-DE" sz="1600" b="0" dirty="0">
                <a:solidFill>
                  <a:srgbClr val="05164D"/>
                </a:solidFill>
              </a:rPr>
              <a:t>Recording will </a:t>
            </a:r>
            <a:r>
              <a:rPr lang="de-DE" sz="1600" b="0" dirty="0" err="1">
                <a:solidFill>
                  <a:srgbClr val="05164D"/>
                </a:solidFill>
              </a:rPr>
              <a:t>be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shared</a:t>
            </a:r>
            <a:r>
              <a:rPr lang="de-DE" sz="1600" b="0" dirty="0">
                <a:solidFill>
                  <a:srgbClr val="05164D"/>
                </a:solidFill>
              </a:rPr>
              <a:t> on </a:t>
            </a:r>
            <a:r>
              <a:rPr lang="de-DE" sz="1600" b="0" dirty="0" err="1">
                <a:solidFill>
                  <a:srgbClr val="05164D"/>
                </a:solidFill>
              </a:rPr>
              <a:t>internally</a:t>
            </a:r>
            <a:r>
              <a:rPr lang="de-DE" sz="1600" b="0" dirty="0">
                <a:solidFill>
                  <a:srgbClr val="05164D"/>
                </a:solidFill>
              </a:rPr>
              <a:t> after </a:t>
            </a:r>
            <a:r>
              <a:rPr lang="de-DE" sz="1600" b="0" dirty="0" err="1">
                <a:solidFill>
                  <a:srgbClr val="05164D"/>
                </a:solidFill>
              </a:rPr>
              <a:t>the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conference</a:t>
            </a:r>
            <a:r>
              <a:rPr lang="de-DE" sz="1600" b="0" dirty="0">
                <a:solidFill>
                  <a:srgbClr val="05164D"/>
                </a:solidFill>
              </a:rPr>
              <a:t>.</a:t>
            </a:r>
            <a:endParaRPr lang="de-DE" sz="1600" dirty="0">
              <a:solidFill>
                <a:srgbClr val="05164D"/>
              </a:solidFill>
            </a:endParaRPr>
          </a:p>
          <a:p>
            <a:r>
              <a:rPr lang="de-DE" sz="1600" dirty="0">
                <a:solidFill>
                  <a:srgbClr val="05164D"/>
                </a:solidFill>
              </a:rPr>
              <a:t>Audio</a:t>
            </a:r>
            <a:endParaRPr lang="en-US" sz="1600" dirty="0">
              <a:solidFill>
                <a:srgbClr val="05164D"/>
              </a:solidFill>
            </a:endParaRPr>
          </a:p>
          <a:p>
            <a:r>
              <a:rPr lang="de-DE" sz="1600" b="0" dirty="0" err="1">
                <a:solidFill>
                  <a:srgbClr val="05164D"/>
                </a:solidFill>
              </a:rPr>
              <a:t>Participants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are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muted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by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default</a:t>
            </a:r>
            <a:r>
              <a:rPr lang="de-DE" sz="1600" b="0" dirty="0">
                <a:solidFill>
                  <a:srgbClr val="05164D"/>
                </a:solidFill>
              </a:rPr>
              <a:t>, </a:t>
            </a:r>
            <a:r>
              <a:rPr lang="de-DE" sz="1600" b="0" dirty="0" err="1">
                <a:solidFill>
                  <a:srgbClr val="05164D"/>
                </a:solidFill>
              </a:rPr>
              <a:t>you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are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invited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to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post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your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questions</a:t>
            </a:r>
            <a:r>
              <a:rPr lang="de-DE" sz="1600" b="0" dirty="0">
                <a:solidFill>
                  <a:srgbClr val="05164D"/>
                </a:solidFill>
              </a:rPr>
              <a:t> in </a:t>
            </a:r>
          </a:p>
          <a:p>
            <a:r>
              <a:rPr lang="de-DE" sz="1600" b="0" dirty="0" err="1">
                <a:solidFill>
                  <a:srgbClr val="05164D"/>
                </a:solidFill>
              </a:rPr>
              <a:t>the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chat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window</a:t>
            </a:r>
            <a:r>
              <a:rPr lang="de-DE" sz="1600" b="0" dirty="0">
                <a:solidFill>
                  <a:srgbClr val="05164D"/>
                </a:solidFill>
              </a:rPr>
              <a:t>.</a:t>
            </a:r>
            <a:endParaRPr lang="en-US" sz="1600" b="0" dirty="0">
              <a:solidFill>
                <a:srgbClr val="05164D"/>
              </a:solidFill>
            </a:endParaRPr>
          </a:p>
          <a:p>
            <a:r>
              <a:rPr lang="de-DE" sz="1600" dirty="0">
                <a:solidFill>
                  <a:srgbClr val="05164D"/>
                </a:solidFill>
              </a:rPr>
              <a:t>Q&amp;A</a:t>
            </a:r>
            <a:endParaRPr lang="en-US" sz="1600" dirty="0">
              <a:solidFill>
                <a:srgbClr val="05164D"/>
              </a:solidFill>
            </a:endParaRPr>
          </a:p>
          <a:p>
            <a:r>
              <a:rPr lang="de-DE" sz="1600" b="0" dirty="0" err="1">
                <a:solidFill>
                  <a:srgbClr val="05164D"/>
                </a:solidFill>
              </a:rPr>
              <a:t>You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can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post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your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questions</a:t>
            </a:r>
            <a:r>
              <a:rPr lang="de-DE" sz="1600" b="0" dirty="0">
                <a:solidFill>
                  <a:srgbClr val="05164D"/>
                </a:solidFill>
              </a:rPr>
              <a:t> in </a:t>
            </a:r>
            <a:r>
              <a:rPr lang="de-DE" sz="1600" b="0" dirty="0" err="1">
                <a:solidFill>
                  <a:srgbClr val="05164D"/>
                </a:solidFill>
              </a:rPr>
              <a:t>the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chat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window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or</a:t>
            </a:r>
            <a:r>
              <a:rPr lang="de-DE" sz="1600" b="0" dirty="0">
                <a:solidFill>
                  <a:srgbClr val="05164D"/>
                </a:solidFill>
              </a:rPr>
              <a:t> at </a:t>
            </a:r>
            <a:r>
              <a:rPr lang="de-DE" sz="1600" b="0" dirty="0" err="1">
                <a:solidFill>
                  <a:srgbClr val="05164D"/>
                </a:solidFill>
              </a:rPr>
              <a:t>the</a:t>
            </a:r>
            <a:r>
              <a:rPr lang="de-DE" sz="1600" b="0" dirty="0">
                <a:solidFill>
                  <a:srgbClr val="05164D"/>
                </a:solidFill>
              </a:rPr>
              <a:t> end </a:t>
            </a:r>
            <a:r>
              <a:rPr lang="de-DE" sz="1600" b="0" dirty="0" err="1">
                <a:solidFill>
                  <a:srgbClr val="05164D"/>
                </a:solidFill>
              </a:rPr>
              <a:t>of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  <a:r>
              <a:rPr lang="de-DE" sz="1600" b="0" dirty="0" err="1">
                <a:solidFill>
                  <a:srgbClr val="05164D"/>
                </a:solidFill>
              </a:rPr>
              <a:t>the</a:t>
            </a:r>
            <a:r>
              <a:rPr lang="de-DE" sz="16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600" b="0" dirty="0" err="1">
                <a:solidFill>
                  <a:srgbClr val="05164D"/>
                </a:solidFill>
              </a:rPr>
              <a:t>presentation</a:t>
            </a:r>
            <a:r>
              <a:rPr lang="de-DE" sz="1600" b="0" dirty="0">
                <a:solidFill>
                  <a:srgbClr val="05164D"/>
                </a:solidFill>
              </a:rPr>
              <a:t>.</a:t>
            </a:r>
            <a:endParaRPr lang="de-DE" sz="160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2420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/>
              <a:t>Checklist </a:t>
            </a:r>
            <a:r>
              <a:rPr lang="en-US" noProof="0" dirty="0"/>
              <a:t>2</a:t>
            </a:r>
            <a:r>
              <a:rPr lang="en-US" dirty="0"/>
              <a:t>: 45 minutes presentation means max 40 min. presentation and 5 minutes Q &amp; A</a:t>
            </a:r>
            <a:br>
              <a:rPr lang="en-US" noProof="0" dirty="0"/>
            </a:b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7" y="1131888"/>
            <a:ext cx="8004255" cy="3419475"/>
          </a:xfrm>
        </p:spPr>
        <p:txBody>
          <a:bodyPr vert="horz" lIns="0" tIns="0" rIns="0" bIns="0" rtlCol="0" anchor="t">
            <a:noAutofit/>
          </a:bodyPr>
          <a:lstStyle/>
          <a:p>
            <a:pPr marL="143510" lvl="2" indent="-143510"/>
            <a:r>
              <a:rPr lang="en-US" sz="1200" dirty="0">
                <a:sym typeface="Wingdings" panose="05000000000000000000" pitchFamily="2" charset="2"/>
              </a:rPr>
              <a:t>Please keep slides short! </a:t>
            </a:r>
            <a:r>
              <a:rPr lang="en-US" sz="1200" dirty="0"/>
              <a:t>Calculate only 5-10 minutes introduction to the topic using slides.</a:t>
            </a:r>
          </a:p>
          <a:p>
            <a:pPr marL="143510" lvl="2" indent="-143510"/>
            <a:endParaRPr lang="en-US" sz="1200" dirty="0"/>
          </a:p>
          <a:p>
            <a:pPr marL="143510" lvl="2" indent="-143510"/>
            <a:r>
              <a:rPr lang="en-US" sz="1200" dirty="0"/>
              <a:t>Provide as many hands-on experiences as possible! Use your Terminal and IDE.</a:t>
            </a:r>
            <a:endParaRPr lang="en-US" dirty="0"/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Stick to the time. Make sure to not present longer than 40 (+5 for Q&amp;A) minute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Try involve your audience by focusing on typical developer problems and practical solution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b="1" dirty="0"/>
              <a:t>The audience is quite “heterogenic” in terms of expert level, you are presenting in front of Software Engineers (Software Developer, DevOps Engineer, UI/UX Engineer, Software Architect, Test Engineer or similar), so start to onboard all first and then jump deeper in the topic.</a:t>
            </a:r>
          </a:p>
          <a:p>
            <a:pPr marL="0" lvl="2" indent="0">
              <a:buNone/>
            </a:pPr>
            <a:endParaRPr lang="en-US" sz="1200"/>
          </a:p>
          <a:p>
            <a:pPr marL="0" lvl="2" indent="0">
              <a:buNone/>
            </a:pPr>
            <a:endParaRPr lang="en-US" sz="1200" b="1">
              <a:solidFill>
                <a:schemeClr val="accent3"/>
              </a:solidFill>
            </a:endParaRPr>
          </a:p>
          <a:p>
            <a:pPr marL="0" lvl="2" indent="0">
              <a:buNone/>
            </a:pPr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7</a:t>
            </a:fld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9" name="Textfeld 8"/>
          <p:cNvSpPr txBox="1"/>
          <p:nvPr/>
        </p:nvSpPr>
        <p:spPr>
          <a:xfrm rot="812534">
            <a:off x="6491759" y="906030"/>
            <a:ext cx="21453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 err="1">
                <a:solidFill>
                  <a:srgbClr val="FF0000"/>
                </a:solidFill>
              </a:rPr>
              <a:t>Please</a:t>
            </a:r>
            <a:r>
              <a:rPr lang="de-DE" sz="1200" b="1" dirty="0">
                <a:solidFill>
                  <a:srgbClr val="FF0000"/>
                </a:solidFill>
              </a:rPr>
              <a:t> </a:t>
            </a:r>
            <a:r>
              <a:rPr lang="de-DE" sz="1200" b="1" dirty="0" err="1">
                <a:solidFill>
                  <a:srgbClr val="FF0000"/>
                </a:solidFill>
              </a:rPr>
              <a:t>delete</a:t>
            </a:r>
            <a:r>
              <a:rPr lang="de-DE" sz="1200" b="1" dirty="0">
                <a:solidFill>
                  <a:srgbClr val="FF0000"/>
                </a:solidFill>
              </a:rPr>
              <a:t> after </a:t>
            </a:r>
            <a:r>
              <a:rPr lang="de-DE" sz="1200" b="1" dirty="0" err="1">
                <a:solidFill>
                  <a:srgbClr val="FF0000"/>
                </a:solidFill>
              </a:rPr>
              <a:t>reading</a:t>
            </a:r>
            <a:endParaRPr lang="de-DE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49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nts and tricks: Presenting in front of a camer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7337" y="886564"/>
            <a:ext cx="8497887" cy="3419475"/>
          </a:xfrm>
        </p:spPr>
        <p:txBody>
          <a:bodyPr/>
          <a:lstStyle/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Introduce yourself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Stand up 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alk with passion, the more positive and exited you are about the information you are transmitting the more people will pay attention to you</a:t>
            </a:r>
            <a:endParaRPr lang="en-US" sz="1050" b="0" dirty="0"/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gin your session using an upbeat tone that captures the audience’s attention immediately. Pace yourself so that you can maintain your energy throughout your presentation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Dress professionally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b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Sept 01, 2022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6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equipment in each meeting room: Camera, projector, (audio)?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7337" y="886564"/>
            <a:ext cx="8497887" cy="3419475"/>
          </a:xfrm>
        </p:spPr>
        <p:txBody>
          <a:bodyPr vert="horz" lIns="0" tIns="0" rIns="0" bIns="0" rtlCol="0" anchor="t">
            <a:noAutofit/>
          </a:bodyPr>
          <a:lstStyle/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ea typeface="+mj-lt"/>
                <a:cs typeface="+mj-lt"/>
              </a:rPr>
              <a:t>Please do a dry run before of your presentation</a:t>
            </a:r>
            <a:endParaRPr lang="en-US" sz="1050" b="0" dirty="0">
              <a:ea typeface="+mj-lt"/>
              <a:cs typeface="+mj-lt"/>
            </a:endParaRPr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FF0000"/>
                </a:solidFill>
              </a:rPr>
              <a:t>Each meeting room is equipped with a camera and a </a:t>
            </a:r>
            <a:r>
              <a:rPr lang="en-US" sz="1050" dirty="0" err="1">
                <a:solidFill>
                  <a:srgbClr val="FF0000"/>
                </a:solidFill>
              </a:rPr>
              <a:t>jabra</a:t>
            </a:r>
            <a:r>
              <a:rPr lang="en-US" sz="1050" dirty="0">
                <a:solidFill>
                  <a:srgbClr val="FF0000"/>
                </a:solidFill>
              </a:rPr>
              <a:t> for sound.</a:t>
            </a:r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dirty="0">
              <a:solidFill>
                <a:srgbClr val="FF0000"/>
              </a:solidFill>
            </a:endParaRPr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dirty="0"/>
              <a:t>Please check your room beforehand and get used to the technical equipment, rooms will be open on Aug 31  from xx:00 and on Sept 01 </a:t>
            </a:r>
            <a:r>
              <a:rPr lang="en-US" sz="1050" dirty="0" err="1"/>
              <a:t>fom</a:t>
            </a:r>
            <a:r>
              <a:rPr lang="en-US" sz="1050" dirty="0"/>
              <a:t> 08:00 am</a:t>
            </a:r>
            <a:endParaRPr lang="en-US" dirty="0"/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dirty="0"/>
              <a:t>As it will be a live plus MS Teams online session,  please check where to stand while presenting in front of the camera because of the real +online audience</a:t>
            </a:r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Have </a:t>
            </a:r>
            <a:r>
              <a:rPr lang="en-US" sz="1050" dirty="0"/>
              <a:t>an co-moderator/or a colleague from your team who is familiar with the topic </a:t>
            </a:r>
            <a:r>
              <a:rPr lang="en-US" sz="1050" b="0" dirty="0"/>
              <a:t>ready for your presentation </a:t>
            </a:r>
            <a:r>
              <a:rPr lang="en-US" sz="1050" b="0" dirty="0">
                <a:sym typeface="Wingdings" panose="05000000000000000000" pitchFamily="2" charset="2"/>
              </a:rPr>
              <a:t>who </a:t>
            </a:r>
            <a:r>
              <a:rPr lang="en-US" sz="1050" dirty="0">
                <a:sym typeface="Wingdings" panose="05000000000000000000" pitchFamily="2" charset="2"/>
              </a:rPr>
              <a:t>can monitor the chat and </a:t>
            </a:r>
            <a:r>
              <a:rPr lang="en-US" sz="1050" b="0" dirty="0">
                <a:sym typeface="Wingdings" panose="05000000000000000000" pitchFamily="2" charset="2"/>
              </a:rPr>
              <a:t>who can help you to read through questions</a:t>
            </a:r>
            <a:endParaRPr lang="en-US" sz="1050" b="0" dirty="0"/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b="0" dirty="0"/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 sure to test your audio first to make sure the sound is clear. “People will forgive bad video, but if they can’t hear you, they’ll leave,” says Braithwaite</a:t>
            </a:r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ry to convey emotions into your slide deck</a:t>
            </a:r>
            <a:endParaRPr lang="en-US" sz="1050" b="0" dirty="0"/>
          </a:p>
          <a:p>
            <a:pPr marL="269875" indent="-269875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b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Sept 01, 2022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69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303212"/>
            <a:ext cx="8670414" cy="576263"/>
          </a:xfrm>
        </p:spPr>
        <p:txBody>
          <a:bodyPr/>
          <a:lstStyle/>
          <a:p>
            <a:r>
              <a:rPr lang="de-DE"/>
              <a:t>New </a:t>
            </a:r>
            <a:r>
              <a:rPr lang="de-DE" err="1"/>
              <a:t>event</a:t>
            </a:r>
            <a:r>
              <a:rPr lang="de-DE"/>
              <a:t> </a:t>
            </a:r>
            <a:r>
              <a:rPr lang="de-DE" err="1"/>
              <a:t>format</a:t>
            </a:r>
            <a:r>
              <a:rPr lang="de-DE"/>
              <a:t>: LSY Developer Conference (Hybrid)</a:t>
            </a:r>
            <a:br>
              <a:rPr lang="de-DE"/>
            </a:br>
            <a:br>
              <a:rPr lang="de-DE"/>
            </a:b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E44061C-5449-44B9-A98D-7A4F46E84FDF}" type="datetime1">
              <a:rPr lang="de-DE" noProof="0" smtClean="0"/>
              <a:t>21.08.2022</a:t>
            </a:fld>
            <a:endParaRPr lang="de-DE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</a:t>
            </a:r>
            <a:r>
              <a:rPr lang="en-US"/>
              <a:t>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2</a:t>
            </a:fld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5115476" y="1082635"/>
            <a:ext cx="3821586" cy="9448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SzPct val="90000"/>
            </a:pPr>
            <a:r>
              <a:rPr lang="de-DE" sz="1200" b="1" err="1">
                <a:solidFill>
                  <a:schemeClr val="accent6"/>
                </a:solidFill>
              </a:rPr>
              <a:t>Aim</a:t>
            </a:r>
            <a:endParaRPr lang="de-DE" sz="1200" b="1">
              <a:solidFill>
                <a:schemeClr val="accent6"/>
              </a:solidFill>
            </a:endParaRP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e-DE" sz="1200" err="1">
                <a:solidFill>
                  <a:schemeClr val="accent6"/>
                </a:solidFill>
              </a:rPr>
              <a:t>ReConnect</a:t>
            </a:r>
            <a:r>
              <a:rPr lang="de-DE" sz="1200">
                <a:solidFill>
                  <a:schemeClr val="accent6"/>
                </a:solidFill>
              </a:rPr>
              <a:t>, </a:t>
            </a:r>
            <a:r>
              <a:rPr lang="de-DE" sz="1200" err="1">
                <a:solidFill>
                  <a:schemeClr val="accent6"/>
                </a:solidFill>
              </a:rPr>
              <a:t>get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together</a:t>
            </a:r>
            <a:endParaRPr lang="de-DE" sz="1200">
              <a:solidFill>
                <a:schemeClr val="accent6"/>
              </a:solidFill>
            </a:endParaRP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accent6"/>
                </a:solidFill>
              </a:rPr>
              <a:t>Building a </a:t>
            </a:r>
            <a:r>
              <a:rPr lang="de-DE" sz="1200" err="1">
                <a:solidFill>
                  <a:schemeClr val="accent6"/>
                </a:solidFill>
              </a:rPr>
              <a:t>developer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community</a:t>
            </a:r>
            <a:endParaRPr lang="de-DE" sz="1200">
              <a:solidFill>
                <a:schemeClr val="accent6"/>
              </a:solidFill>
            </a:endParaRP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accent6"/>
                </a:solidFill>
              </a:rPr>
              <a:t>Incentive </a:t>
            </a:r>
            <a:r>
              <a:rPr lang="de-DE" sz="1200" err="1">
                <a:solidFill>
                  <a:schemeClr val="accent6"/>
                </a:solidFill>
              </a:rPr>
              <a:t>for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developers</a:t>
            </a:r>
            <a:endParaRPr lang="de-DE" sz="1200">
              <a:solidFill>
                <a:schemeClr val="accent6"/>
              </a:solidFill>
            </a:endParaRP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e-DE" sz="1200" err="1">
                <a:solidFill>
                  <a:schemeClr val="accent6"/>
                </a:solidFill>
              </a:rPr>
              <a:t>Increase</a:t>
            </a:r>
            <a:r>
              <a:rPr lang="de-DE" sz="1200">
                <a:solidFill>
                  <a:schemeClr val="accent6"/>
                </a:solidFill>
              </a:rPr>
              <a:t> positive DX e.g. </a:t>
            </a:r>
            <a:endParaRPr lang="de-DE" sz="1200" b="1">
              <a:solidFill>
                <a:schemeClr val="accent6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822126" y="1155854"/>
            <a:ext cx="3610619" cy="29546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SzPct val="90000"/>
            </a:pPr>
            <a:r>
              <a:rPr lang="de-DE" sz="1200" b="1">
                <a:solidFill>
                  <a:schemeClr val="tx2"/>
                </a:solidFill>
                <a:ea typeface="+mj-ea"/>
                <a:cs typeface="+mj-cs"/>
              </a:rPr>
              <a:t>Date (September 01 in BUD) </a:t>
            </a:r>
          </a:p>
          <a:p>
            <a:pPr>
              <a:buSzPct val="90000"/>
            </a:pPr>
            <a:endParaRPr lang="de-DE" sz="1200" b="1">
              <a:solidFill>
                <a:schemeClr val="tx2"/>
              </a:solidFill>
              <a:ea typeface="+mj-ea"/>
              <a:cs typeface="+mj-cs"/>
            </a:endParaRPr>
          </a:p>
          <a:p>
            <a:pPr marL="171450" indent="-171450">
              <a:buSzPct val="90000"/>
              <a:buFont typeface="Arial"/>
              <a:buChar char="•"/>
            </a:pP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Developer Conference in a hybrid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setting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. </a:t>
            </a:r>
            <a:br>
              <a:rPr lang="de-DE" sz="1200">
                <a:solidFill>
                  <a:schemeClr val="tx2"/>
                </a:solidFill>
                <a:ea typeface="+mj-ea"/>
                <a:cs typeface="+mj-cs"/>
              </a:rPr>
            </a:b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In parallel, FRA, GDN and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other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locations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will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be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connected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virtually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to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get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all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developers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a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chance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to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particpate</a:t>
            </a:r>
            <a:endParaRPr lang="de-DE" sz="1200">
              <a:solidFill>
                <a:schemeClr val="tx2"/>
              </a:solidFill>
              <a:ea typeface="+mj-ea"/>
              <a:cs typeface="+mj-cs"/>
            </a:endParaRPr>
          </a:p>
          <a:p>
            <a:pPr marL="171450" indent="-171450">
              <a:buSzPct val="90000"/>
              <a:buFont typeface="Arial"/>
              <a:buChar char="•"/>
            </a:pPr>
            <a:endParaRPr lang="de-DE" sz="1200">
              <a:solidFill>
                <a:schemeClr val="tx2"/>
              </a:solidFill>
              <a:ea typeface="+mj-ea"/>
              <a:cs typeface="+mj-cs"/>
            </a:endParaRPr>
          </a:p>
          <a:p>
            <a:pPr marL="171450" indent="-171450">
              <a:buSzPct val="90000"/>
              <a:buFont typeface="Arial"/>
              <a:buChar char="•"/>
            </a:pP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Estimated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number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onsite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250 (80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from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outside BUD) plus 200 hybrid 	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event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participants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at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other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locations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 </a:t>
            </a:r>
          </a:p>
          <a:p>
            <a:pPr marL="171450" indent="-171450">
              <a:buSzPct val="90000"/>
              <a:buFont typeface="Arial"/>
              <a:buChar char="•"/>
            </a:pPr>
            <a:endParaRPr lang="de-DE" sz="1200" b="1">
              <a:solidFill>
                <a:schemeClr val="tx2"/>
              </a:solidFill>
              <a:ea typeface="+mj-ea"/>
              <a:cs typeface="+mj-cs"/>
            </a:endParaRPr>
          </a:p>
          <a:p>
            <a:pPr marL="171450" indent="-171450">
              <a:buSzPct val="90000"/>
              <a:buFont typeface="Arial"/>
              <a:buChar char="•"/>
            </a:pP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Combine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with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planned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sports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activities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</a:t>
            </a:r>
            <a:br>
              <a:rPr lang="de-DE" sz="1200">
                <a:solidFill>
                  <a:schemeClr val="tx2"/>
                </a:solidFill>
                <a:ea typeface="+mj-ea"/>
                <a:cs typeface="+mj-cs"/>
              </a:rPr>
            </a:b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Dragon Boat </a:t>
            </a:r>
            <a:r>
              <a:rPr lang="de-DE" sz="1200" err="1">
                <a:solidFill>
                  <a:schemeClr val="tx2"/>
                </a:solidFill>
                <a:ea typeface="+mj-ea"/>
                <a:cs typeface="+mj-cs"/>
              </a:rPr>
              <a:t>Race</a:t>
            </a: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 (September 02)</a:t>
            </a:r>
            <a:br>
              <a:rPr lang="de-DE" sz="1200">
                <a:solidFill>
                  <a:schemeClr val="tx2"/>
                </a:solidFill>
                <a:ea typeface="+mj-ea"/>
                <a:cs typeface="+mj-cs"/>
              </a:rPr>
            </a:br>
            <a:r>
              <a:rPr lang="de-DE" sz="1200">
                <a:solidFill>
                  <a:schemeClr val="tx2"/>
                </a:solidFill>
                <a:ea typeface="+mj-ea"/>
                <a:cs typeface="+mj-cs"/>
              </a:rPr>
              <a:t>Airport Run (September 03) </a:t>
            </a:r>
          </a:p>
          <a:p>
            <a:pPr marL="171450" indent="-171450">
              <a:buSzPct val="90000"/>
              <a:buFont typeface="Arial"/>
              <a:buChar char="•"/>
            </a:pPr>
            <a:endParaRPr lang="de-DE" sz="1200">
              <a:solidFill>
                <a:schemeClr val="tx2"/>
              </a:solidFill>
              <a:ea typeface="+mj-ea"/>
              <a:cs typeface="+mj-cs"/>
            </a:endParaRPr>
          </a:p>
          <a:p>
            <a:pPr>
              <a:buSzPct val="90000"/>
            </a:pPr>
            <a:endParaRPr lang="de-DE" sz="1200">
              <a:solidFill>
                <a:schemeClr val="tx2"/>
              </a:solidFill>
              <a:ea typeface="+mj-ea"/>
              <a:cs typeface="+mj-cs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113359" y="3175136"/>
            <a:ext cx="3685148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SzPct val="90000"/>
            </a:pPr>
            <a:r>
              <a:rPr lang="de-DE" sz="1200" b="1" dirty="0" err="1">
                <a:solidFill>
                  <a:schemeClr val="tx2"/>
                </a:solidFill>
                <a:ea typeface="+mj-ea"/>
                <a:cs typeface="+mj-cs"/>
              </a:rPr>
              <a:t>Attractive</a:t>
            </a:r>
            <a:r>
              <a:rPr lang="de-DE" sz="1200" b="1" dirty="0">
                <a:solidFill>
                  <a:schemeClr val="tx2"/>
                </a:solidFill>
                <a:ea typeface="+mj-ea"/>
                <a:cs typeface="+mj-cs"/>
              </a:rPr>
              <a:t> hybrid </a:t>
            </a:r>
            <a:r>
              <a:rPr lang="de-DE" sz="1200" b="1" dirty="0" err="1">
                <a:solidFill>
                  <a:schemeClr val="tx2"/>
                </a:solidFill>
                <a:ea typeface="+mj-ea"/>
                <a:cs typeface="+mj-cs"/>
              </a:rPr>
              <a:t>agenda</a:t>
            </a:r>
            <a:r>
              <a:rPr lang="de-DE" sz="1200" b="1" dirty="0">
                <a:solidFill>
                  <a:schemeClr val="tx2"/>
                </a:solidFill>
                <a:ea typeface="+mj-ea"/>
                <a:cs typeface="+mj-cs"/>
              </a:rPr>
              <a:t> </a:t>
            </a:r>
            <a:r>
              <a:rPr lang="de-DE" sz="1200" b="1" dirty="0" err="1">
                <a:solidFill>
                  <a:schemeClr val="tx2"/>
                </a:solidFill>
                <a:ea typeface="+mj-ea"/>
                <a:cs typeface="+mj-cs"/>
              </a:rPr>
              <a:t>to</a:t>
            </a:r>
            <a:r>
              <a:rPr lang="de-DE" sz="1200" b="1" dirty="0">
                <a:solidFill>
                  <a:schemeClr val="tx2"/>
                </a:solidFill>
                <a:ea typeface="+mj-ea"/>
                <a:cs typeface="+mj-cs"/>
              </a:rPr>
              <a:t> </a:t>
            </a:r>
            <a:r>
              <a:rPr lang="de-DE" sz="1200" b="1" dirty="0" err="1">
                <a:solidFill>
                  <a:schemeClr val="tx2"/>
                </a:solidFill>
                <a:ea typeface="+mj-ea"/>
                <a:cs typeface="+mj-cs"/>
              </a:rPr>
              <a:t>reach</a:t>
            </a:r>
            <a:r>
              <a:rPr lang="de-DE" sz="1200" b="1" dirty="0">
                <a:solidFill>
                  <a:schemeClr val="tx2"/>
                </a:solidFill>
                <a:ea typeface="+mj-ea"/>
                <a:cs typeface="+mj-cs"/>
              </a:rPr>
              <a:t> out </a:t>
            </a:r>
            <a:r>
              <a:rPr lang="de-DE" sz="1200" b="1" dirty="0" err="1">
                <a:solidFill>
                  <a:schemeClr val="tx2"/>
                </a:solidFill>
                <a:ea typeface="+mj-ea"/>
                <a:cs typeface="+mj-cs"/>
              </a:rPr>
              <a:t>to</a:t>
            </a:r>
            <a:r>
              <a:rPr lang="de-DE" sz="1200" b="1" dirty="0">
                <a:solidFill>
                  <a:schemeClr val="tx2"/>
                </a:solidFill>
                <a:ea typeface="+mj-ea"/>
                <a:cs typeface="+mj-cs"/>
              </a:rPr>
              <a:t> all </a:t>
            </a:r>
            <a:r>
              <a:rPr lang="de-DE" sz="1200" b="1" dirty="0" err="1">
                <a:solidFill>
                  <a:schemeClr val="tx2"/>
                </a:solidFill>
                <a:ea typeface="+mj-ea"/>
                <a:cs typeface="+mj-cs"/>
              </a:rPr>
              <a:t>locations</a:t>
            </a:r>
            <a:endParaRPr lang="de-DE" sz="1200" b="1" dirty="0">
              <a:solidFill>
                <a:schemeClr val="tx2"/>
              </a:solidFill>
              <a:ea typeface="+mj-ea"/>
              <a:cs typeface="+mj-cs"/>
            </a:endParaRPr>
          </a:p>
          <a:p>
            <a:pPr marL="171450" indent="-171450">
              <a:buFont typeface="Arial,Sans-Serif"/>
              <a:buChar char="•"/>
            </a:pP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Morning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welcome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  </a:t>
            </a:r>
            <a:endParaRPr lang="de-DE" dirty="0">
              <a:solidFill>
                <a:schemeClr val="tx2"/>
              </a:solidFill>
              <a:ea typeface="+mj-ea"/>
              <a:cs typeface="+mj-cs"/>
            </a:endParaRPr>
          </a:p>
          <a:p>
            <a:pPr marL="171450" indent="-171450">
              <a:buFont typeface="Arial,Sans-Serif"/>
              <a:buChar char="•"/>
            </a:pP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Followed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 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by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 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key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note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tech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 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speakers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 (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external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)</a:t>
            </a:r>
          </a:p>
          <a:p>
            <a:pPr marL="171450" indent="-171450">
              <a:buFont typeface="Arial,Sans-Serif"/>
              <a:buChar char="•"/>
            </a:pP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Share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developer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successes</a:t>
            </a:r>
            <a:endParaRPr lang="de-DE" sz="1200" dirty="0">
              <a:solidFill>
                <a:schemeClr val="tx2"/>
              </a:solidFill>
              <a:ea typeface="+mj-ea"/>
              <a:cs typeface="+mj-cs"/>
            </a:endParaRPr>
          </a:p>
          <a:p>
            <a:pPr marL="171450" indent="-171450">
              <a:buFont typeface="Arial,Sans-Serif"/>
              <a:buChar char="•"/>
            </a:pP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Market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place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with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providers</a:t>
            </a:r>
            <a:endParaRPr lang="de-DE" sz="1200" dirty="0">
              <a:solidFill>
                <a:schemeClr val="tx2"/>
              </a:solidFill>
              <a:ea typeface="+mj-ea"/>
              <a:cs typeface="+mj-cs"/>
            </a:endParaRPr>
          </a:p>
          <a:p>
            <a:pPr marL="171450" indent="-171450">
              <a:buFont typeface="Arial,Sans-Serif"/>
              <a:buChar char="•"/>
            </a:pP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Networking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evening</a:t>
            </a:r>
            <a:r>
              <a:rPr lang="de-DE" sz="1200" dirty="0">
                <a:solidFill>
                  <a:schemeClr val="tx2"/>
                </a:solidFill>
                <a:ea typeface="+mj-ea"/>
                <a:cs typeface="+mj-cs"/>
              </a:rPr>
              <a:t> </a:t>
            </a:r>
            <a:r>
              <a:rPr lang="de-DE" sz="1200" dirty="0" err="1">
                <a:solidFill>
                  <a:schemeClr val="tx2"/>
                </a:solidFill>
                <a:ea typeface="+mj-ea"/>
                <a:cs typeface="+mj-cs"/>
              </a:rPr>
              <a:t>event</a:t>
            </a:r>
            <a:endParaRPr lang="de-DE" sz="1200" dirty="0">
              <a:solidFill>
                <a:schemeClr val="tx2"/>
              </a:solidFill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5034275" y="2030077"/>
            <a:ext cx="4302425" cy="101566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buSzPct val="90000"/>
            </a:pPr>
            <a:r>
              <a:rPr lang="de-DE" sz="1200" b="1">
                <a:solidFill>
                  <a:schemeClr val="accent6"/>
                </a:solidFill>
              </a:rPr>
              <a:t>Innovative </a:t>
            </a:r>
            <a:r>
              <a:rPr lang="de-DE" sz="1200" b="1" err="1">
                <a:solidFill>
                  <a:schemeClr val="accent6"/>
                </a:solidFill>
              </a:rPr>
              <a:t>event</a:t>
            </a:r>
            <a:r>
              <a:rPr lang="de-DE" sz="1200" b="1">
                <a:solidFill>
                  <a:schemeClr val="accent6"/>
                </a:solidFill>
              </a:rPr>
              <a:t> </a:t>
            </a:r>
            <a:r>
              <a:rPr lang="de-DE" sz="1200" b="1" err="1">
                <a:solidFill>
                  <a:schemeClr val="accent6"/>
                </a:solidFill>
              </a:rPr>
              <a:t>concept</a:t>
            </a:r>
            <a:endParaRPr lang="de-DE" sz="1200" b="1">
              <a:solidFill>
                <a:schemeClr val="accent6"/>
              </a:solidFill>
            </a:endParaRP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e-DE" sz="1200">
                <a:solidFill>
                  <a:schemeClr val="accent6"/>
                </a:solidFill>
              </a:rPr>
              <a:t>Share </a:t>
            </a:r>
            <a:r>
              <a:rPr lang="de-DE" sz="1200" err="1">
                <a:solidFill>
                  <a:schemeClr val="accent6"/>
                </a:solidFill>
              </a:rPr>
              <a:t>developer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successes</a:t>
            </a:r>
            <a:r>
              <a:rPr lang="de-DE" sz="1200">
                <a:solidFill>
                  <a:schemeClr val="accent6"/>
                </a:solidFill>
              </a:rPr>
              <a:t>, </a:t>
            </a:r>
            <a:r>
              <a:rPr lang="de-DE" sz="1200" err="1">
                <a:solidFill>
                  <a:schemeClr val="accent6"/>
                </a:solidFill>
              </a:rPr>
              <a:t>actively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contribute</a:t>
            </a:r>
            <a:r>
              <a:rPr lang="de-DE" sz="1200">
                <a:solidFill>
                  <a:schemeClr val="accent6"/>
                </a:solidFill>
              </a:rPr>
              <a:t>, </a:t>
            </a:r>
            <a:r>
              <a:rPr lang="de-DE" sz="1200" err="1">
                <a:solidFill>
                  <a:schemeClr val="accent6"/>
                </a:solidFill>
              </a:rPr>
              <a:t>foster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dialogue</a:t>
            </a:r>
            <a:r>
              <a:rPr lang="de-DE" sz="1200">
                <a:solidFill>
                  <a:schemeClr val="accent6"/>
                </a:solidFill>
              </a:rPr>
              <a:t> &amp; </a:t>
            </a:r>
            <a:r>
              <a:rPr lang="de-DE" sz="1200" err="1">
                <a:solidFill>
                  <a:schemeClr val="accent6"/>
                </a:solidFill>
              </a:rPr>
              <a:t>collaboration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endParaRPr lang="de-DE">
              <a:solidFill>
                <a:schemeClr val="accent6"/>
              </a:solidFill>
            </a:endParaRP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e-DE" sz="1200" err="1">
                <a:solidFill>
                  <a:schemeClr val="accent6"/>
                </a:solidFill>
              </a:rPr>
              <a:t>We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learn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from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each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other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across</a:t>
            </a:r>
            <a:r>
              <a:rPr lang="de-DE" sz="1200">
                <a:solidFill>
                  <a:schemeClr val="accent6"/>
                </a:solidFill>
              </a:rPr>
              <a:t> LSY </a:t>
            </a:r>
            <a:r>
              <a:rPr lang="de-DE" sz="1200" err="1">
                <a:solidFill>
                  <a:schemeClr val="accent6"/>
                </a:solidFill>
              </a:rPr>
              <a:t>locations</a:t>
            </a:r>
            <a:r>
              <a:rPr lang="de-DE" sz="1200">
                <a:solidFill>
                  <a:schemeClr val="accent6"/>
                </a:solidFill>
              </a:rPr>
              <a:t>, </a:t>
            </a:r>
            <a:r>
              <a:rPr lang="de-DE" sz="1200" err="1">
                <a:solidFill>
                  <a:schemeClr val="accent6"/>
                </a:solidFill>
              </a:rPr>
              <a:t>cultures</a:t>
            </a:r>
            <a:r>
              <a:rPr lang="de-DE" sz="1200">
                <a:solidFill>
                  <a:schemeClr val="accent6"/>
                </a:solidFill>
              </a:rPr>
              <a:t> &amp; </a:t>
            </a:r>
            <a:r>
              <a:rPr lang="de-DE" sz="1200" err="1">
                <a:solidFill>
                  <a:schemeClr val="accent6"/>
                </a:solidFill>
              </a:rPr>
              <a:t>work</a:t>
            </a:r>
            <a:r>
              <a:rPr lang="de-DE" sz="1200">
                <a:solidFill>
                  <a:schemeClr val="accent6"/>
                </a:solidFill>
              </a:rPr>
              <a:t> on </a:t>
            </a:r>
            <a:r>
              <a:rPr lang="de-DE" sz="1200" err="1">
                <a:solidFill>
                  <a:schemeClr val="accent6"/>
                </a:solidFill>
              </a:rPr>
              <a:t>new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ideas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together</a:t>
            </a:r>
            <a:r>
              <a:rPr lang="de-DE" sz="1200">
                <a:solidFill>
                  <a:schemeClr val="accent6"/>
                </a:solidFill>
              </a:rPr>
              <a:t> </a:t>
            </a:r>
          </a:p>
        </p:txBody>
      </p:sp>
      <p:sp>
        <p:nvSpPr>
          <p:cNvPr id="13" name="Textfeld 13">
            <a:extLst>
              <a:ext uri="{FF2B5EF4-FFF2-40B4-BE49-F238E27FC236}">
                <a16:creationId xmlns:a16="http://schemas.microsoft.com/office/drawing/2014/main" id="{01AFD78F-A7C8-5985-75AC-145B8270D70E}"/>
              </a:ext>
            </a:extLst>
          </p:cNvPr>
          <p:cNvSpPr txBox="1"/>
          <p:nvPr/>
        </p:nvSpPr>
        <p:spPr>
          <a:xfrm>
            <a:off x="861315" y="4253733"/>
            <a:ext cx="34745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SzPct val="90000"/>
            </a:pPr>
            <a:r>
              <a:rPr lang="de-DE" sz="1200" b="1">
                <a:solidFill>
                  <a:schemeClr val="accent6"/>
                </a:solidFill>
              </a:rPr>
              <a:t>* </a:t>
            </a:r>
            <a:r>
              <a:rPr lang="de-DE" sz="1200">
                <a:solidFill>
                  <a:schemeClr val="accent6"/>
                </a:solidFill>
              </a:rPr>
              <a:t>Developer </a:t>
            </a:r>
            <a:r>
              <a:rPr lang="de-DE" sz="1200" err="1">
                <a:solidFill>
                  <a:schemeClr val="accent6"/>
                </a:solidFill>
              </a:rPr>
              <a:t>numbers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are</a:t>
            </a:r>
            <a:r>
              <a:rPr lang="de-DE" sz="1200">
                <a:solidFill>
                  <a:schemeClr val="accent6"/>
                </a:solidFill>
              </a:rPr>
              <a:t> </a:t>
            </a:r>
            <a:r>
              <a:rPr lang="de-DE" sz="1200" err="1">
                <a:solidFill>
                  <a:schemeClr val="accent6"/>
                </a:solidFill>
              </a:rPr>
              <a:t>to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be</a:t>
            </a:r>
            <a:r>
              <a:rPr lang="de-DE" sz="1200">
                <a:solidFill>
                  <a:schemeClr val="accent6"/>
                </a:solidFill>
              </a:rPr>
              <a:t> </a:t>
            </a:r>
            <a:r>
              <a:rPr lang="de-DE" sz="1200" err="1">
                <a:solidFill>
                  <a:schemeClr val="accent6"/>
                </a:solidFill>
              </a:rPr>
              <a:t>confirmed</a:t>
            </a:r>
            <a:r>
              <a:rPr lang="de-DE" sz="1200">
                <a:solidFill>
                  <a:schemeClr val="accent6"/>
                </a:solidFill>
              </a:rPr>
              <a:t> per </a:t>
            </a:r>
            <a:r>
              <a:rPr lang="de-DE" sz="1200" err="1">
                <a:solidFill>
                  <a:schemeClr val="accent6"/>
                </a:solidFill>
              </a:rPr>
              <a:t>location</a:t>
            </a:r>
            <a:endParaRPr lang="de-DE" sz="1200">
              <a:solidFill>
                <a:schemeClr val="accent6"/>
              </a:solidFill>
            </a:endParaRPr>
          </a:p>
        </p:txBody>
      </p:sp>
      <p:pic>
        <p:nvPicPr>
          <p:cNvPr id="14" name="Grafik 8">
            <a:extLst>
              <a:ext uri="{FF2B5EF4-FFF2-40B4-BE49-F238E27FC236}">
                <a16:creationId xmlns:a16="http://schemas.microsoft.com/office/drawing/2014/main" id="{F6A3CA34-E77A-24B8-5E2A-4C83E122F6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78374" y="3119161"/>
            <a:ext cx="630877" cy="638299"/>
          </a:xfrm>
          <a:prstGeom prst="rect">
            <a:avLst/>
          </a:prstGeom>
        </p:spPr>
      </p:pic>
      <p:pic>
        <p:nvPicPr>
          <p:cNvPr id="19" name="Grafik 17">
            <a:extLst>
              <a:ext uri="{FF2B5EF4-FFF2-40B4-BE49-F238E27FC236}">
                <a16:creationId xmlns:a16="http://schemas.microsoft.com/office/drawing/2014/main" id="{09E72563-9806-DAA3-A626-ABB58C2587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58060" y="1062594"/>
            <a:ext cx="831273" cy="831273"/>
          </a:xfrm>
          <a:prstGeom prst="rect">
            <a:avLst/>
          </a:prstGeom>
        </p:spPr>
      </p:pic>
      <p:pic>
        <p:nvPicPr>
          <p:cNvPr id="24" name="Grafik 24">
            <a:extLst>
              <a:ext uri="{FF2B5EF4-FFF2-40B4-BE49-F238E27FC236}">
                <a16:creationId xmlns:a16="http://schemas.microsoft.com/office/drawing/2014/main" id="{40378BDF-A84D-F547-5D58-59D028AE48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0342" y="1017671"/>
            <a:ext cx="641685" cy="68178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27F3FCE7-A9FF-9375-5B9B-F2084CC1B8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41395" y="2070433"/>
            <a:ext cx="832185" cy="822159"/>
          </a:xfrm>
          <a:prstGeom prst="rect">
            <a:avLst/>
          </a:prstGeom>
        </p:spPr>
      </p:pic>
      <p:pic>
        <p:nvPicPr>
          <p:cNvPr id="28" name="Grafik 18">
            <a:extLst>
              <a:ext uri="{FF2B5EF4-FFF2-40B4-BE49-F238E27FC236}">
                <a16:creationId xmlns:a16="http://schemas.microsoft.com/office/drawing/2014/main" id="{26407998-CF25-5924-3F14-FEDE9DCFCBF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5187" y="2255496"/>
            <a:ext cx="711869" cy="711870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DCB03853-E8C5-6256-6758-460C0CA0699C}"/>
              </a:ext>
            </a:extLst>
          </p:cNvPr>
          <p:cNvSpPr/>
          <p:nvPr/>
        </p:nvSpPr>
        <p:spPr>
          <a:xfrm>
            <a:off x="350635" y="2240237"/>
            <a:ext cx="543427" cy="292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107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Checklist 1 </a:t>
            </a:r>
            <a:br>
              <a:rPr lang="en-US" noProof="0"/>
            </a:br>
            <a:r>
              <a:rPr lang="en-US" baseline="0" noProof="0"/>
              <a:t>File size, images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8" y="1131888"/>
            <a:ext cx="5510518" cy="3419475"/>
          </a:xfrm>
        </p:spPr>
        <p:txBody>
          <a:bodyPr/>
          <a:lstStyle/>
          <a:p>
            <a:pPr marL="228600" lvl="2" indent="-228600">
              <a:buFont typeface="+mj-lt"/>
              <a:buAutoNum type="arabicPeriod" startAt="7"/>
            </a:pPr>
            <a:r>
              <a:rPr lang="en-US" sz="1200" b="1" baseline="0" noProof="0"/>
              <a:t>File size, images: </a:t>
            </a:r>
            <a:r>
              <a:rPr lang="en-US" sz="1200" baseline="0" noProof="0"/>
              <a:t>Images are mostly responsible for large file sizes.</a:t>
            </a:r>
          </a:p>
          <a:p>
            <a:pPr marL="334963" lvl="3" indent="-155575"/>
            <a:r>
              <a:rPr lang="en-US" sz="1200" baseline="0" noProof="0"/>
              <a:t>Only use images in the RGB color space, limit the dimensions beforehand if possible.</a:t>
            </a:r>
          </a:p>
          <a:p>
            <a:pPr marL="334963" lvl="3" indent="-155575"/>
            <a:r>
              <a:rPr lang="en-US" sz="1200" baseline="0" noProof="0"/>
              <a:t>Recommended size for full formats: 900 - 1200px width.</a:t>
            </a:r>
          </a:p>
          <a:p>
            <a:pPr marL="334963" lvl="3" indent="-155575"/>
            <a:r>
              <a:rPr lang="en-US" sz="1200" baseline="0" noProof="0"/>
              <a:t>You can adjust the settings (reduce values) under “File/Options/Advanced” if the file size is too large. </a:t>
            </a:r>
            <a:br>
              <a:rPr lang="en-US" sz="1200" noProof="0"/>
            </a:br>
            <a:br>
              <a:rPr lang="en-US" sz="1200" noProof="0"/>
            </a:br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Tip:</a:t>
            </a:r>
            <a:r>
              <a:rPr lang="en-US" sz="1200" baseline="0" noProof="0"/>
              <a:t> Create a backup file beforehand, as these settings are irreversible. Presentation can become unsightly.</a:t>
            </a:r>
            <a:endParaRPr lang="en-US" sz="1200" noProof="0"/>
          </a:p>
          <a:p>
            <a:pPr marL="334963" lvl="3" indent="-155575"/>
            <a:r>
              <a:rPr lang="en-US" sz="1200" baseline="0" noProof="0"/>
              <a:t>Using “Save as” rather than simply saving can also reduce the file size.</a:t>
            </a:r>
            <a:endParaRPr lang="en-US" sz="1200" noProof="0"/>
          </a:p>
          <a:p>
            <a:pPr marL="334963" lvl="3" indent="-155575"/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Info:</a:t>
            </a:r>
            <a:r>
              <a:rPr lang="en-US" sz="1200" baseline="0" noProof="0"/>
              <a:t> Each full image means a file size increase of about 1.5 MB.</a:t>
            </a:r>
            <a:endParaRPr lang="en-US" sz="1200" noProof="0"/>
          </a:p>
          <a:p>
            <a:pPr lvl="0"/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0</a:t>
            </a:fld>
            <a:endParaRPr lang="de-DE" noProof="0"/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615711"/>
              </p:ext>
            </p:extLst>
          </p:nvPr>
        </p:nvGraphicFramePr>
        <p:xfrm>
          <a:off x="6265225" y="1134491"/>
          <a:ext cx="2520000" cy="268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activate the option “Discard editing data”, changes can no longer be undone, but data is reduced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possible, do not let PowerPoint compress the images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aseline="0">
                          <a:solidFill>
                            <a:schemeClr val="bg1"/>
                          </a:solidFill>
                          <a:latin typeface="+mn-lt"/>
                        </a:rPr>
                        <a:t>Caution! </a:t>
                      </a: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uncheck the lower box, the image quality drops noticeably - check the loaded logos. </a:t>
                      </a:r>
                      <a:br>
                        <a:rPr lang="de-DE" sz="1000" b="0" baseline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This process cannot be reversed.</a:t>
                      </a:r>
                      <a:endParaRPr lang="de-DE" sz="1000" b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2053" y="3613235"/>
            <a:ext cx="2506344" cy="82756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27014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D67FF3EB-B567-06E4-E825-CD3A6F027449}"/>
              </a:ext>
            </a:extLst>
          </p:cNvPr>
          <p:cNvSpPr txBox="1"/>
          <p:nvPr/>
        </p:nvSpPr>
        <p:spPr>
          <a:xfrm>
            <a:off x="3200400" y="2343150"/>
            <a:ext cx="1210268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r>
              <a:rPr lang="de-DE" sz="1200" dirty="0" err="1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236947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0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46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29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7849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el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466733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151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98C815-B310-AA68-C23C-8D02FB07BDE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287337" y="4790748"/>
            <a:ext cx="2160000" cy="92333"/>
          </a:xfrm>
        </p:spPr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D0FA84-82B0-1C8C-208A-0FCA0EAB19D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87338" y="4695825"/>
            <a:ext cx="2160000" cy="92333"/>
          </a:xfrm>
        </p:spPr>
        <p:txBody>
          <a:bodyPr/>
          <a:lstStyle/>
          <a:p>
            <a:r>
              <a:rPr lang="en-US" baseline="0" dirty="0"/>
              <a:t>LSY Developer Conferenc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7881ED-BE8B-B8D4-EB02-BCBA581162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87338" y="4885671"/>
            <a:ext cx="335028" cy="92333"/>
          </a:xfrm>
        </p:spPr>
        <p:txBody>
          <a:bodyPr/>
          <a:lstStyle/>
          <a:p>
            <a:r>
              <a:rPr lang="en-US" dirty="0"/>
              <a:t>Page </a:t>
            </a:r>
            <a:fld id="{67242389-55B8-40B0-97B3-D8452A5F367E}" type="slidenum">
              <a:rPr dirty="0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591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1957706"/>
            <a:ext cx="462116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>
                <a:solidFill>
                  <a:srgbClr val="05164D"/>
                </a:solidFill>
              </a:rPr>
              <a:t>Your topic number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07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405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794085"/>
              </p:ext>
            </p:extLst>
          </p:nvPr>
        </p:nvGraphicFramePr>
        <p:xfrm>
          <a:off x="290513" y="880300"/>
          <a:ext cx="4352925" cy="31016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2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Here is a quote! Rupitis tiasitiae </a:t>
                      </a:r>
                      <a:br>
                        <a:rPr kumimoji="0" lang="de-DE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rero et </a:t>
                      </a:r>
                      <a:r>
                        <a:rPr kumimoji="0" lang="en-US" sz="2800" kern="1200" normalizeH="0" baseline="0" noProof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xerumq</a:t>
                      </a: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US" sz="2800" b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2800" kern="120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ohn Doe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34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47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527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noProof="0" dirty="0"/>
              <a:t>Show eye-catching </a:t>
            </a:r>
            <a:r>
              <a:rPr lang="en-US" baseline="0" noProof="0" dirty="0">
                <a:solidFill>
                  <a:schemeClr val="accent5"/>
                </a:solidFill>
              </a:rPr>
              <a:t>text </a:t>
            </a:r>
            <a:r>
              <a:rPr lang="en-US" baseline="0" noProof="0" dirty="0"/>
              <a:t>like this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8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49429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613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/>
              <a:t>A separating slide with text can look like this. </a:t>
            </a:r>
            <a:br>
              <a:rPr lang="de-DE"/>
            </a:br>
            <a:r>
              <a:rPr lang="en-US" baseline="0"/>
              <a:t>Here too, </a:t>
            </a:r>
            <a:r>
              <a:rPr lang="en-US" baseline="0">
                <a:solidFill>
                  <a:schemeClr val="accent5"/>
                </a:solidFill>
              </a:rPr>
              <a:t>highlights </a:t>
            </a:r>
            <a:r>
              <a:rPr lang="en-US" baseline="0"/>
              <a:t>can be in yellow.</a:t>
            </a:r>
          </a:p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9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52561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Developer Conference? </a:t>
            </a:r>
            <a:endParaRPr lang="de-DE" sz="18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37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58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0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74133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451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1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5785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27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>
            <a:extLst>
              <a:ext uri="{FF2B5EF4-FFF2-40B4-BE49-F238E27FC236}">
                <a16:creationId xmlns:a16="http://schemas.microsoft.com/office/drawing/2014/main" id="{BE61AD16-D88A-D9D7-A8ED-AE39C5C3442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/>
          <a:srcRect t="5762" b="5762"/>
          <a:stretch/>
        </p:blipFill>
        <p:spPr/>
      </p:pic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>
                <a:solidFill>
                  <a:srgbClr val="FFFFFF"/>
                </a:solidFill>
              </a:rPr>
              <a:t>Layout with wallpaper</a:t>
            </a:r>
            <a:endParaRPr lang="en-US" noProof="0">
              <a:solidFill>
                <a:srgbClr val="FFFFFF"/>
              </a:solidFill>
            </a:endParaRPr>
          </a:p>
        </p:txBody>
      </p:sp>
      <p:sp>
        <p:nvSpPr>
          <p:cNvPr id="25" name="Inhaltsplatzhalter 24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baseline="0"/>
              <a:t>First-level text, </a:t>
            </a:r>
            <a:endParaRPr lang="en-US"/>
          </a:p>
          <a:p>
            <a:pPr lvl="0"/>
            <a:r>
              <a:rPr lang="en-US" baseline="0"/>
              <a:t>Lufthansa Office Head</a:t>
            </a:r>
            <a:endParaRPr lang="en-US"/>
          </a:p>
          <a:p>
            <a:pPr lvl="1"/>
            <a:r>
              <a:rPr lang="en-US" baseline="0"/>
              <a:t>Second-level text</a:t>
            </a:r>
          </a:p>
          <a:p>
            <a:pPr marL="143510" lvl="2" indent="-143510"/>
            <a:r>
              <a:rPr lang="en-US" baseline="0"/>
              <a:t>Third-level text</a:t>
            </a:r>
          </a:p>
          <a:p>
            <a:pPr marL="287655" lvl="3" indent="-143510"/>
            <a:r>
              <a:rPr lang="en-US" baseline="0"/>
              <a:t>Fourth-level text</a:t>
            </a:r>
          </a:p>
          <a:p>
            <a:pPr marL="431800" lvl="4" indent="-143510"/>
            <a:r>
              <a:rPr lang="en-US" baseline="0"/>
              <a:t>Fifth-level text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2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06236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532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2 text columns</a:t>
            </a:r>
            <a:endParaRPr lang="en-US" noProof="0"/>
          </a:p>
        </p:txBody>
      </p:sp>
      <p:sp>
        <p:nvSpPr>
          <p:cNvPr id="13" name="Inhaltsplatzhalter 1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3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1878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728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 and image</a:t>
            </a:r>
            <a:endParaRPr lang="en-US" noProof="0"/>
          </a:p>
        </p:txBody>
      </p:sp>
      <p:sp>
        <p:nvSpPr>
          <p:cNvPr id="27" name="Inhaltsplatzhalter 2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14062" r="14062"/>
          <a:stretch/>
        </p:blipFill>
        <p:spPr/>
      </p:pic>
      <p:sp>
        <p:nvSpPr>
          <p:cNvPr id="31" name="Fußzeilenplatzhalter 3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4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324588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214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/>
              <a:t>Your presenter was: &lt;name&gt;</a:t>
            </a:r>
            <a:br>
              <a:rPr lang="en-US"/>
            </a:br>
            <a:r>
              <a:rPr lang="en-US" baseline="0"/>
              <a:t>&lt;name&gt;@lhsystems.com</a:t>
            </a:r>
            <a:endParaRPr lang="en-US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10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012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/>
          <p:nvPr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9" name="Ellipse 8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0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1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116605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2957625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8" name="Tabel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404838"/>
              </p:ext>
            </p:extLst>
          </p:nvPr>
        </p:nvGraphicFramePr>
        <p:xfrm>
          <a:off x="158750" y="4121782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36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6053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985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21" name="Ellipse 20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22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664569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9254923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355620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37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6328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91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Usage examples</a:t>
            </a:r>
            <a:endParaRPr lang="en-US" noProof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697"/>
              </p:ext>
            </p:extLst>
          </p:nvPr>
        </p:nvGraphicFramePr>
        <p:xfrm>
          <a:off x="182121" y="1061752"/>
          <a:ext cx="2721756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Lufthansa Systems offers its roughly 350 airline customers a unique range of successful and - in many cases - market-leading products covering all areas of an airline’s business processes – in the cockpit, in the cabin and on the ground.</a:t>
                      </a: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8</a:t>
            </a:fld>
            <a:endParaRPr lang="de-DE" noProof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769137"/>
              </p:ext>
            </p:extLst>
          </p:nvPr>
        </p:nvGraphicFramePr>
        <p:xfrm>
          <a:off x="4535929" y="1061752"/>
          <a:ext cx="3276533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6" name="Gruppieren 5"/>
          <p:cNvGrpSpPr/>
          <p:nvPr/>
        </p:nvGrpSpPr>
        <p:grpSpPr>
          <a:xfrm>
            <a:off x="4729503" y="1274777"/>
            <a:ext cx="3125585" cy="2330586"/>
            <a:chOff x="4644251" y="950111"/>
            <a:chExt cx="3125585" cy="2330586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73138" y="1131888"/>
              <a:ext cx="958580" cy="958580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0637" y="950111"/>
              <a:ext cx="395388" cy="395388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4454" y="1660824"/>
              <a:ext cx="825229" cy="825229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4644251" y="1803369"/>
              <a:ext cx="3125585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9600" baseline="0">
                  <a:solidFill>
                    <a:srgbClr val="05164D"/>
                  </a:solidFill>
                </a:rPr>
                <a:t>45%</a:t>
              </a:r>
              <a:endParaRPr lang="de-DE" sz="1200"/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4686877" y="2996244"/>
              <a:ext cx="251215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1600" b="1" baseline="0">
                  <a:solidFill>
                    <a:schemeClr val="accent3"/>
                  </a:solidFill>
                  <a:latin typeface="+mj-lt"/>
                </a:rPr>
                <a:t>quia eossitet lorem ipsum</a:t>
              </a:r>
              <a:endParaRPr lang="de-DE" sz="1600" b="1">
                <a:solidFill>
                  <a:schemeClr val="accent3"/>
                </a:solidFill>
                <a:latin typeface="+mj-lt"/>
              </a:endParaRPr>
            </a:p>
          </p:txBody>
        </p:sp>
      </p:grp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3365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4</a:t>
            </a:fld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189314" y="283221"/>
            <a:ext cx="887376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Swift, Swift Package Manager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ObjectiveC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iOS Swift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SwiftUI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Combine, iOS DDD, SOLID, clean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code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onion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architecture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C# C#, OpenCV.NET JavaScript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ReactJS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Kubernetes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ArgoCD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Helm, Java, Jenkins Java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Quarkus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Docker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Kubernetes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AWS, GCP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Azure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NATS, Go, Python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AsyncAPI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OpenAPI</a:t>
            </a:r>
            <a:r>
              <a:rPr lang="de-DE" sz="24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Java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Drools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Grafana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OpenTelemetry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Datadog</a:t>
            </a:r>
            <a:r>
              <a:rPr lang="de-DE" sz="24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Go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Github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 Actions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ArgoCD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Helm</a:t>
            </a:r>
            <a:r>
              <a:rPr lang="de-DE" sz="24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Java, DDD, C4</a:t>
            </a:r>
            <a:r>
              <a:rPr lang="de-DE" sz="24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Kubernetes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K9S, Helm</a:t>
            </a:r>
            <a:r>
              <a:rPr lang="de-DE" sz="24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Java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JBoss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Quarkus</a:t>
            </a:r>
            <a:r>
              <a:rPr lang="de-DE" sz="24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SQL, Oracle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Debezium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NATS, Kafka, Python</a:t>
            </a:r>
            <a:r>
              <a:rPr lang="de-DE" sz="24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TypeScript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ReactJS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D3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Fresh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SSG/SSR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GitHub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Deno</a:t>
            </a:r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85000"/>
                  </a:schemeClr>
                </a:solidFill>
              </a:rPr>
              <a:t>Deploy</a:t>
            </a:r>
            <a:r>
              <a:rPr lang="de-DE" sz="2400" dirty="0">
                <a:solidFill>
                  <a:schemeClr val="bg1">
                    <a:lumMod val="85000"/>
                  </a:schemeClr>
                </a:solidFill>
              </a:rPr>
              <a:t> </a:t>
            </a:r>
          </a:p>
          <a:p>
            <a:r>
              <a:rPr lang="de-DE" sz="2400" b="1" dirty="0">
                <a:solidFill>
                  <a:schemeClr val="bg1">
                    <a:lumMod val="85000"/>
                  </a:schemeClr>
                </a:solidFill>
              </a:rPr>
              <a:t> </a:t>
            </a:r>
          </a:p>
        </p:txBody>
      </p:sp>
      <p:sp>
        <p:nvSpPr>
          <p:cNvPr id="13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87337" y="283221"/>
            <a:ext cx="8497887" cy="4548186"/>
          </a:xfrm>
        </p:spPr>
        <p:txBody>
          <a:bodyPr/>
          <a:lstStyle/>
          <a:p>
            <a:r>
              <a:rPr lang="en-US" dirty="0">
                <a:solidFill>
                  <a:schemeClr val="accent5"/>
                </a:solidFill>
              </a:rPr>
              <a:t>You</a:t>
            </a:r>
            <a:r>
              <a:rPr lang="en-US" dirty="0"/>
              <a:t>’re into IT– the heart of LSY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704378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>
            <a:grpSpLocks noChangeAspect="1"/>
          </p:cNvGrpSpPr>
          <p:nvPr/>
        </p:nvGrpSpPr>
        <p:grpSpPr>
          <a:xfrm>
            <a:off x="1833943" y="860402"/>
            <a:ext cx="6457039" cy="4698378"/>
            <a:chOff x="6401971" y="1065058"/>
            <a:chExt cx="4233079" cy="315242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" name="Freeform 4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619445" y="2523669"/>
              <a:ext cx="1787831" cy="1693809"/>
            </a:xfrm>
            <a:custGeom>
              <a:avLst/>
              <a:gdLst>
                <a:gd name="T0" fmla="*/ 2147483647 w 3422"/>
                <a:gd name="T1" fmla="*/ 2147483647 h 3506"/>
                <a:gd name="T2" fmla="*/ 2147483647 w 3422"/>
                <a:gd name="T3" fmla="*/ 2147483647 h 3506"/>
                <a:gd name="T4" fmla="*/ 2147483647 w 3422"/>
                <a:gd name="T5" fmla="*/ 2147483647 h 3506"/>
                <a:gd name="T6" fmla="*/ 2147483647 w 3422"/>
                <a:gd name="T7" fmla="*/ 2147483647 h 3506"/>
                <a:gd name="T8" fmla="*/ 2147483647 w 3422"/>
                <a:gd name="T9" fmla="*/ 2147483647 h 3506"/>
                <a:gd name="T10" fmla="*/ 2147483647 w 3422"/>
                <a:gd name="T11" fmla="*/ 2147483647 h 3506"/>
                <a:gd name="T12" fmla="*/ 2147483647 w 3422"/>
                <a:gd name="T13" fmla="*/ 2147483647 h 3506"/>
                <a:gd name="T14" fmla="*/ 2147483647 w 3422"/>
                <a:gd name="T15" fmla="*/ 2147483647 h 3506"/>
                <a:gd name="T16" fmla="*/ 2147483647 w 3422"/>
                <a:gd name="T17" fmla="*/ 2147483647 h 3506"/>
                <a:gd name="T18" fmla="*/ 2147483647 w 3422"/>
                <a:gd name="T19" fmla="*/ 2147483647 h 3506"/>
                <a:gd name="T20" fmla="*/ 2147483647 w 3422"/>
                <a:gd name="T21" fmla="*/ 2147483647 h 3506"/>
                <a:gd name="T22" fmla="*/ 2147483647 w 3422"/>
                <a:gd name="T23" fmla="*/ 2147483647 h 3506"/>
                <a:gd name="T24" fmla="*/ 2147483647 w 3422"/>
                <a:gd name="T25" fmla="*/ 2147483647 h 3506"/>
                <a:gd name="T26" fmla="*/ 2147483647 w 3422"/>
                <a:gd name="T27" fmla="*/ 2147483647 h 3506"/>
                <a:gd name="T28" fmla="*/ 2147483647 w 3422"/>
                <a:gd name="T29" fmla="*/ 2147483647 h 3506"/>
                <a:gd name="T30" fmla="*/ 2147483647 w 3422"/>
                <a:gd name="T31" fmla="*/ 2147483647 h 3506"/>
                <a:gd name="T32" fmla="*/ 2147483647 w 3422"/>
                <a:gd name="T33" fmla="*/ 2147483647 h 3506"/>
                <a:gd name="T34" fmla="*/ 2147483647 w 3422"/>
                <a:gd name="T35" fmla="*/ 2147483647 h 3506"/>
                <a:gd name="T36" fmla="*/ 2147483647 w 3422"/>
                <a:gd name="T37" fmla="*/ 2147483647 h 3506"/>
                <a:gd name="T38" fmla="*/ 2147483647 w 3422"/>
                <a:gd name="T39" fmla="*/ 2147483647 h 3506"/>
                <a:gd name="T40" fmla="*/ 2147483647 w 3422"/>
                <a:gd name="T41" fmla="*/ 2147483647 h 3506"/>
                <a:gd name="T42" fmla="*/ 2147483647 w 3422"/>
                <a:gd name="T43" fmla="*/ 2147483647 h 3506"/>
                <a:gd name="T44" fmla="*/ 2147483647 w 3422"/>
                <a:gd name="T45" fmla="*/ 2147483647 h 3506"/>
                <a:gd name="T46" fmla="*/ 2147483647 w 3422"/>
                <a:gd name="T47" fmla="*/ 2147483647 h 3506"/>
                <a:gd name="T48" fmla="*/ 2147483647 w 3422"/>
                <a:gd name="T49" fmla="*/ 2147483647 h 3506"/>
                <a:gd name="T50" fmla="*/ 2147483647 w 3422"/>
                <a:gd name="T51" fmla="*/ 2147483647 h 3506"/>
                <a:gd name="T52" fmla="*/ 2147483647 w 3422"/>
                <a:gd name="T53" fmla="*/ 2147483647 h 3506"/>
                <a:gd name="T54" fmla="*/ 2147483647 w 3422"/>
                <a:gd name="T55" fmla="*/ 2147483647 h 3506"/>
                <a:gd name="T56" fmla="*/ 2147483647 w 3422"/>
                <a:gd name="T57" fmla="*/ 2147483647 h 3506"/>
                <a:gd name="T58" fmla="*/ 2147483647 w 3422"/>
                <a:gd name="T59" fmla="*/ 2147483647 h 3506"/>
                <a:gd name="T60" fmla="*/ 2147483647 w 3422"/>
                <a:gd name="T61" fmla="*/ 2147483647 h 3506"/>
                <a:gd name="T62" fmla="*/ 2147483647 w 3422"/>
                <a:gd name="T63" fmla="*/ 2147483647 h 3506"/>
                <a:gd name="T64" fmla="*/ 2147483647 w 3422"/>
                <a:gd name="T65" fmla="*/ 2147483647 h 3506"/>
                <a:gd name="T66" fmla="*/ 2147483647 w 3422"/>
                <a:gd name="T67" fmla="*/ 2147483647 h 3506"/>
                <a:gd name="T68" fmla="*/ 2147483647 w 3422"/>
                <a:gd name="T69" fmla="*/ 2147483647 h 3506"/>
                <a:gd name="T70" fmla="*/ 2147483647 w 3422"/>
                <a:gd name="T71" fmla="*/ 2147483647 h 3506"/>
                <a:gd name="T72" fmla="*/ 2147483647 w 3422"/>
                <a:gd name="T73" fmla="*/ 2147483647 h 3506"/>
                <a:gd name="T74" fmla="*/ 2147483647 w 3422"/>
                <a:gd name="T75" fmla="*/ 2147483647 h 3506"/>
                <a:gd name="T76" fmla="*/ 2147483647 w 3422"/>
                <a:gd name="T77" fmla="*/ 2147483647 h 3506"/>
                <a:gd name="T78" fmla="*/ 2147483647 w 3422"/>
                <a:gd name="T79" fmla="*/ 2147483647 h 3506"/>
                <a:gd name="T80" fmla="*/ 2147483647 w 3422"/>
                <a:gd name="T81" fmla="*/ 2147483647 h 3506"/>
                <a:gd name="T82" fmla="*/ 2147483647 w 3422"/>
                <a:gd name="T83" fmla="*/ 2147483647 h 3506"/>
                <a:gd name="T84" fmla="*/ 2147483647 w 3422"/>
                <a:gd name="T85" fmla="*/ 2147483647 h 3506"/>
                <a:gd name="T86" fmla="*/ 2147483647 w 3422"/>
                <a:gd name="T87" fmla="*/ 2147483647 h 3506"/>
                <a:gd name="T88" fmla="*/ 2147483647 w 3422"/>
                <a:gd name="T89" fmla="*/ 2147483647 h 3506"/>
                <a:gd name="T90" fmla="*/ 2147483647 w 3422"/>
                <a:gd name="T91" fmla="*/ 2147483647 h 3506"/>
                <a:gd name="T92" fmla="*/ 2147483647 w 3422"/>
                <a:gd name="T93" fmla="*/ 2147483647 h 3506"/>
                <a:gd name="T94" fmla="*/ 2147483647 w 3422"/>
                <a:gd name="T95" fmla="*/ 2147483647 h 3506"/>
                <a:gd name="T96" fmla="*/ 2147483647 w 3422"/>
                <a:gd name="T97" fmla="*/ 2147483647 h 3506"/>
                <a:gd name="T98" fmla="*/ 2147483647 w 3422"/>
                <a:gd name="T99" fmla="*/ 2147483647 h 3506"/>
                <a:gd name="T100" fmla="*/ 2147483647 w 3422"/>
                <a:gd name="T101" fmla="*/ 2147483647 h 3506"/>
                <a:gd name="T102" fmla="*/ 2147483647 w 3422"/>
                <a:gd name="T103" fmla="*/ 2147483647 h 3506"/>
                <a:gd name="T104" fmla="*/ 2147483647 w 3422"/>
                <a:gd name="T105" fmla="*/ 2147483647 h 3506"/>
                <a:gd name="T106" fmla="*/ 2147483647 w 3422"/>
                <a:gd name="T107" fmla="*/ 2147483647 h 3506"/>
                <a:gd name="T108" fmla="*/ 2147483647 w 3422"/>
                <a:gd name="T109" fmla="*/ 2147483647 h 3506"/>
                <a:gd name="T110" fmla="*/ 2147483647 w 3422"/>
                <a:gd name="T111" fmla="*/ 2147483647 h 3506"/>
                <a:gd name="T112" fmla="*/ 2147483647 w 3422"/>
                <a:gd name="T113" fmla="*/ 2147483647 h 3506"/>
                <a:gd name="T114" fmla="*/ 2147483647 w 3422"/>
                <a:gd name="T115" fmla="*/ 2147483647 h 3506"/>
                <a:gd name="T116" fmla="*/ 2147483647 w 3422"/>
                <a:gd name="T117" fmla="*/ 2147483647 h 3506"/>
                <a:gd name="T118" fmla="*/ 2147483647 w 3422"/>
                <a:gd name="T119" fmla="*/ 2147483647 h 3506"/>
                <a:gd name="T120" fmla="*/ 2147483647 w 3422"/>
                <a:gd name="T121" fmla="*/ 2147483647 h 3506"/>
                <a:gd name="T122" fmla="*/ 2147483647 w 3422"/>
                <a:gd name="T123" fmla="*/ 2147483647 h 350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22" h="3506">
                  <a:moveTo>
                    <a:pt x="1372" y="372"/>
                  </a:moveTo>
                  <a:cubicBezTo>
                    <a:pt x="1397" y="385"/>
                    <a:pt x="1397" y="385"/>
                    <a:pt x="1397" y="385"/>
                  </a:cubicBezTo>
                  <a:cubicBezTo>
                    <a:pt x="1397" y="401"/>
                    <a:pt x="1373" y="393"/>
                    <a:pt x="1373" y="393"/>
                  </a:cubicBezTo>
                  <a:cubicBezTo>
                    <a:pt x="1416" y="427"/>
                    <a:pt x="1416" y="427"/>
                    <a:pt x="1416" y="427"/>
                  </a:cubicBezTo>
                  <a:cubicBezTo>
                    <a:pt x="1418" y="413"/>
                    <a:pt x="1418" y="413"/>
                    <a:pt x="1418" y="413"/>
                  </a:cubicBezTo>
                  <a:cubicBezTo>
                    <a:pt x="1435" y="418"/>
                    <a:pt x="1435" y="418"/>
                    <a:pt x="1435" y="418"/>
                  </a:cubicBezTo>
                  <a:cubicBezTo>
                    <a:pt x="1421" y="395"/>
                    <a:pt x="1421" y="395"/>
                    <a:pt x="1421" y="395"/>
                  </a:cubicBezTo>
                  <a:cubicBezTo>
                    <a:pt x="1421" y="395"/>
                    <a:pt x="1418" y="370"/>
                    <a:pt x="1406" y="357"/>
                  </a:cubicBezTo>
                  <a:cubicBezTo>
                    <a:pt x="1394" y="344"/>
                    <a:pt x="1355" y="321"/>
                    <a:pt x="1348" y="337"/>
                  </a:cubicBezTo>
                  <a:cubicBezTo>
                    <a:pt x="1339" y="357"/>
                    <a:pt x="1372" y="372"/>
                    <a:pt x="1372" y="372"/>
                  </a:cubicBezTo>
                  <a:close/>
                  <a:moveTo>
                    <a:pt x="1310" y="395"/>
                  </a:moveTo>
                  <a:cubicBezTo>
                    <a:pt x="1298" y="391"/>
                    <a:pt x="1276" y="378"/>
                    <a:pt x="1276" y="378"/>
                  </a:cubicBezTo>
                  <a:cubicBezTo>
                    <a:pt x="1276" y="378"/>
                    <a:pt x="1255" y="373"/>
                    <a:pt x="1254" y="380"/>
                  </a:cubicBezTo>
                  <a:cubicBezTo>
                    <a:pt x="1252" y="387"/>
                    <a:pt x="1266" y="398"/>
                    <a:pt x="1266" y="398"/>
                  </a:cubicBezTo>
                  <a:cubicBezTo>
                    <a:pt x="1266" y="398"/>
                    <a:pt x="1254" y="424"/>
                    <a:pt x="1259" y="434"/>
                  </a:cubicBezTo>
                  <a:cubicBezTo>
                    <a:pt x="1264" y="444"/>
                    <a:pt x="1272" y="454"/>
                    <a:pt x="1272" y="454"/>
                  </a:cubicBezTo>
                  <a:cubicBezTo>
                    <a:pt x="1272" y="454"/>
                    <a:pt x="1288" y="437"/>
                    <a:pt x="1293" y="441"/>
                  </a:cubicBezTo>
                  <a:cubicBezTo>
                    <a:pt x="1298" y="444"/>
                    <a:pt x="1298" y="463"/>
                    <a:pt x="1298" y="463"/>
                  </a:cubicBezTo>
                  <a:cubicBezTo>
                    <a:pt x="1307" y="472"/>
                    <a:pt x="1307" y="472"/>
                    <a:pt x="1307" y="472"/>
                  </a:cubicBezTo>
                  <a:cubicBezTo>
                    <a:pt x="1307" y="472"/>
                    <a:pt x="1284" y="506"/>
                    <a:pt x="1284" y="513"/>
                  </a:cubicBezTo>
                  <a:cubicBezTo>
                    <a:pt x="1284" y="519"/>
                    <a:pt x="1284" y="539"/>
                    <a:pt x="1300" y="535"/>
                  </a:cubicBezTo>
                  <a:cubicBezTo>
                    <a:pt x="1315" y="532"/>
                    <a:pt x="1338" y="527"/>
                    <a:pt x="1329" y="513"/>
                  </a:cubicBezTo>
                  <a:cubicBezTo>
                    <a:pt x="1320" y="498"/>
                    <a:pt x="1319" y="486"/>
                    <a:pt x="1327" y="463"/>
                  </a:cubicBezTo>
                  <a:cubicBezTo>
                    <a:pt x="1336" y="441"/>
                    <a:pt x="1329" y="424"/>
                    <a:pt x="1322" y="431"/>
                  </a:cubicBezTo>
                  <a:cubicBezTo>
                    <a:pt x="1315" y="437"/>
                    <a:pt x="1302" y="445"/>
                    <a:pt x="1302" y="437"/>
                  </a:cubicBezTo>
                  <a:cubicBezTo>
                    <a:pt x="1302" y="429"/>
                    <a:pt x="1322" y="398"/>
                    <a:pt x="1310" y="395"/>
                  </a:cubicBezTo>
                  <a:close/>
                  <a:moveTo>
                    <a:pt x="1345" y="445"/>
                  </a:moveTo>
                  <a:cubicBezTo>
                    <a:pt x="1352" y="499"/>
                    <a:pt x="1352" y="499"/>
                    <a:pt x="1352" y="499"/>
                  </a:cubicBezTo>
                  <a:cubicBezTo>
                    <a:pt x="1360" y="449"/>
                    <a:pt x="1360" y="449"/>
                    <a:pt x="1360" y="449"/>
                  </a:cubicBezTo>
                  <a:cubicBezTo>
                    <a:pt x="1343" y="414"/>
                    <a:pt x="1343" y="414"/>
                    <a:pt x="1343" y="414"/>
                  </a:cubicBezTo>
                  <a:cubicBezTo>
                    <a:pt x="1328" y="414"/>
                    <a:pt x="1328" y="414"/>
                    <a:pt x="1328" y="414"/>
                  </a:cubicBezTo>
                  <a:lnTo>
                    <a:pt x="1345" y="445"/>
                  </a:lnTo>
                  <a:close/>
                  <a:moveTo>
                    <a:pt x="1364" y="494"/>
                  </a:moveTo>
                  <a:cubicBezTo>
                    <a:pt x="1385" y="492"/>
                    <a:pt x="1385" y="492"/>
                    <a:pt x="1385" y="492"/>
                  </a:cubicBezTo>
                  <a:cubicBezTo>
                    <a:pt x="1388" y="475"/>
                    <a:pt x="1388" y="475"/>
                    <a:pt x="1388" y="475"/>
                  </a:cubicBezTo>
                  <a:cubicBezTo>
                    <a:pt x="1370" y="469"/>
                    <a:pt x="1370" y="469"/>
                    <a:pt x="1370" y="469"/>
                  </a:cubicBezTo>
                  <a:lnTo>
                    <a:pt x="1364" y="494"/>
                  </a:lnTo>
                  <a:close/>
                  <a:moveTo>
                    <a:pt x="1058" y="557"/>
                  </a:moveTo>
                  <a:cubicBezTo>
                    <a:pt x="1058" y="557"/>
                    <a:pt x="1055" y="542"/>
                    <a:pt x="1063" y="542"/>
                  </a:cubicBezTo>
                  <a:cubicBezTo>
                    <a:pt x="1072" y="542"/>
                    <a:pt x="1082" y="539"/>
                    <a:pt x="1089" y="534"/>
                  </a:cubicBezTo>
                  <a:cubicBezTo>
                    <a:pt x="1096" y="529"/>
                    <a:pt x="1089" y="513"/>
                    <a:pt x="1098" y="503"/>
                  </a:cubicBezTo>
                  <a:cubicBezTo>
                    <a:pt x="1106" y="493"/>
                    <a:pt x="1154" y="478"/>
                    <a:pt x="1154" y="467"/>
                  </a:cubicBezTo>
                  <a:cubicBezTo>
                    <a:pt x="1154" y="455"/>
                    <a:pt x="1144" y="444"/>
                    <a:pt x="1142" y="434"/>
                  </a:cubicBezTo>
                  <a:cubicBezTo>
                    <a:pt x="1141" y="424"/>
                    <a:pt x="1144" y="403"/>
                    <a:pt x="1144" y="403"/>
                  </a:cubicBezTo>
                  <a:cubicBezTo>
                    <a:pt x="1134" y="388"/>
                    <a:pt x="1134" y="388"/>
                    <a:pt x="1134" y="388"/>
                  </a:cubicBezTo>
                  <a:cubicBezTo>
                    <a:pt x="1130" y="405"/>
                    <a:pt x="1130" y="405"/>
                    <a:pt x="1130" y="405"/>
                  </a:cubicBezTo>
                  <a:cubicBezTo>
                    <a:pt x="1130" y="405"/>
                    <a:pt x="1111" y="421"/>
                    <a:pt x="1118" y="436"/>
                  </a:cubicBezTo>
                  <a:cubicBezTo>
                    <a:pt x="1125" y="450"/>
                    <a:pt x="1142" y="450"/>
                    <a:pt x="1132" y="457"/>
                  </a:cubicBezTo>
                  <a:cubicBezTo>
                    <a:pt x="1122" y="463"/>
                    <a:pt x="1106" y="472"/>
                    <a:pt x="1106" y="472"/>
                  </a:cubicBezTo>
                  <a:cubicBezTo>
                    <a:pt x="1099" y="490"/>
                    <a:pt x="1099" y="490"/>
                    <a:pt x="1099" y="490"/>
                  </a:cubicBezTo>
                  <a:cubicBezTo>
                    <a:pt x="1084" y="499"/>
                    <a:pt x="1084" y="499"/>
                    <a:pt x="1084" y="499"/>
                  </a:cubicBezTo>
                  <a:cubicBezTo>
                    <a:pt x="1084" y="499"/>
                    <a:pt x="1089" y="508"/>
                    <a:pt x="1082" y="514"/>
                  </a:cubicBezTo>
                  <a:cubicBezTo>
                    <a:pt x="1075" y="521"/>
                    <a:pt x="1050" y="532"/>
                    <a:pt x="1050" y="532"/>
                  </a:cubicBezTo>
                  <a:cubicBezTo>
                    <a:pt x="1050" y="532"/>
                    <a:pt x="1027" y="568"/>
                    <a:pt x="1038" y="576"/>
                  </a:cubicBezTo>
                  <a:lnTo>
                    <a:pt x="1058" y="557"/>
                  </a:lnTo>
                  <a:close/>
                  <a:moveTo>
                    <a:pt x="1162" y="233"/>
                  </a:moveTo>
                  <a:cubicBezTo>
                    <a:pt x="1167" y="245"/>
                    <a:pt x="1183" y="275"/>
                    <a:pt x="1198" y="274"/>
                  </a:cubicBezTo>
                  <a:cubicBezTo>
                    <a:pt x="1208" y="273"/>
                    <a:pt x="1212" y="260"/>
                    <a:pt x="1223" y="259"/>
                  </a:cubicBezTo>
                  <a:cubicBezTo>
                    <a:pt x="1234" y="258"/>
                    <a:pt x="1239" y="268"/>
                    <a:pt x="1246" y="274"/>
                  </a:cubicBezTo>
                  <a:cubicBezTo>
                    <a:pt x="1268" y="293"/>
                    <a:pt x="1267" y="275"/>
                    <a:pt x="1257" y="258"/>
                  </a:cubicBezTo>
                  <a:cubicBezTo>
                    <a:pt x="1275" y="256"/>
                    <a:pt x="1282" y="265"/>
                    <a:pt x="1286" y="279"/>
                  </a:cubicBezTo>
                  <a:cubicBezTo>
                    <a:pt x="1289" y="291"/>
                    <a:pt x="1299" y="303"/>
                    <a:pt x="1313" y="309"/>
                  </a:cubicBezTo>
                  <a:cubicBezTo>
                    <a:pt x="1338" y="322"/>
                    <a:pt x="1340" y="261"/>
                    <a:pt x="1309" y="264"/>
                  </a:cubicBezTo>
                  <a:cubicBezTo>
                    <a:pt x="1308" y="258"/>
                    <a:pt x="1313" y="256"/>
                    <a:pt x="1315" y="251"/>
                  </a:cubicBezTo>
                  <a:cubicBezTo>
                    <a:pt x="1303" y="250"/>
                    <a:pt x="1299" y="236"/>
                    <a:pt x="1286" y="240"/>
                  </a:cubicBezTo>
                  <a:cubicBezTo>
                    <a:pt x="1278" y="257"/>
                    <a:pt x="1263" y="236"/>
                    <a:pt x="1251" y="236"/>
                  </a:cubicBezTo>
                  <a:cubicBezTo>
                    <a:pt x="1235" y="235"/>
                    <a:pt x="1228" y="259"/>
                    <a:pt x="1215" y="239"/>
                  </a:cubicBezTo>
                  <a:cubicBezTo>
                    <a:pt x="1208" y="228"/>
                    <a:pt x="1211" y="213"/>
                    <a:pt x="1211" y="201"/>
                  </a:cubicBezTo>
                  <a:cubicBezTo>
                    <a:pt x="1211" y="189"/>
                    <a:pt x="1207" y="170"/>
                    <a:pt x="1212" y="159"/>
                  </a:cubicBezTo>
                  <a:cubicBezTo>
                    <a:pt x="1219" y="143"/>
                    <a:pt x="1230" y="148"/>
                    <a:pt x="1229" y="128"/>
                  </a:cubicBezTo>
                  <a:cubicBezTo>
                    <a:pt x="1229" y="114"/>
                    <a:pt x="1218" y="105"/>
                    <a:pt x="1220" y="93"/>
                  </a:cubicBezTo>
                  <a:cubicBezTo>
                    <a:pt x="1221" y="80"/>
                    <a:pt x="1229" y="64"/>
                    <a:pt x="1225" y="50"/>
                  </a:cubicBezTo>
                  <a:cubicBezTo>
                    <a:pt x="1222" y="44"/>
                    <a:pt x="1215" y="41"/>
                    <a:pt x="1212" y="35"/>
                  </a:cubicBezTo>
                  <a:cubicBezTo>
                    <a:pt x="1209" y="29"/>
                    <a:pt x="1212" y="22"/>
                    <a:pt x="1211" y="16"/>
                  </a:cubicBezTo>
                  <a:cubicBezTo>
                    <a:pt x="1210" y="11"/>
                    <a:pt x="1208" y="0"/>
                    <a:pt x="1199" y="0"/>
                  </a:cubicBezTo>
                  <a:cubicBezTo>
                    <a:pt x="1194" y="1"/>
                    <a:pt x="1192" y="9"/>
                    <a:pt x="1189" y="12"/>
                  </a:cubicBezTo>
                  <a:cubicBezTo>
                    <a:pt x="1172" y="26"/>
                    <a:pt x="1169" y="9"/>
                    <a:pt x="1153" y="10"/>
                  </a:cubicBezTo>
                  <a:cubicBezTo>
                    <a:pt x="1144" y="13"/>
                    <a:pt x="1144" y="13"/>
                    <a:pt x="1144" y="13"/>
                  </a:cubicBezTo>
                  <a:cubicBezTo>
                    <a:pt x="1141" y="20"/>
                    <a:pt x="1144" y="27"/>
                    <a:pt x="1142" y="34"/>
                  </a:cubicBezTo>
                  <a:cubicBezTo>
                    <a:pt x="1140" y="41"/>
                    <a:pt x="1131" y="47"/>
                    <a:pt x="1127" y="53"/>
                  </a:cubicBezTo>
                  <a:cubicBezTo>
                    <a:pt x="1119" y="65"/>
                    <a:pt x="1121" y="57"/>
                    <a:pt x="1128" y="69"/>
                  </a:cubicBezTo>
                  <a:cubicBezTo>
                    <a:pt x="1131" y="74"/>
                    <a:pt x="1135" y="83"/>
                    <a:pt x="1137" y="89"/>
                  </a:cubicBezTo>
                  <a:cubicBezTo>
                    <a:pt x="1139" y="95"/>
                    <a:pt x="1140" y="102"/>
                    <a:pt x="1139" y="109"/>
                  </a:cubicBezTo>
                  <a:cubicBezTo>
                    <a:pt x="1138" y="116"/>
                    <a:pt x="1130" y="122"/>
                    <a:pt x="1130" y="127"/>
                  </a:cubicBezTo>
                  <a:cubicBezTo>
                    <a:pt x="1130" y="135"/>
                    <a:pt x="1141" y="137"/>
                    <a:pt x="1137" y="145"/>
                  </a:cubicBezTo>
                  <a:cubicBezTo>
                    <a:pt x="1135" y="150"/>
                    <a:pt x="1123" y="153"/>
                    <a:pt x="1119" y="152"/>
                  </a:cubicBezTo>
                  <a:cubicBezTo>
                    <a:pt x="1119" y="146"/>
                    <a:pt x="1117" y="140"/>
                    <a:pt x="1112" y="138"/>
                  </a:cubicBezTo>
                  <a:cubicBezTo>
                    <a:pt x="1111" y="161"/>
                    <a:pt x="1114" y="175"/>
                    <a:pt x="1130" y="194"/>
                  </a:cubicBezTo>
                  <a:cubicBezTo>
                    <a:pt x="1142" y="207"/>
                    <a:pt x="1154" y="217"/>
                    <a:pt x="1162" y="233"/>
                  </a:cubicBezTo>
                  <a:close/>
                  <a:moveTo>
                    <a:pt x="1202" y="693"/>
                  </a:moveTo>
                  <a:cubicBezTo>
                    <a:pt x="1214" y="700"/>
                    <a:pt x="1214" y="700"/>
                    <a:pt x="1214" y="700"/>
                  </a:cubicBezTo>
                  <a:cubicBezTo>
                    <a:pt x="1226" y="682"/>
                    <a:pt x="1226" y="682"/>
                    <a:pt x="1226" y="682"/>
                  </a:cubicBezTo>
                  <a:cubicBezTo>
                    <a:pt x="1209" y="672"/>
                    <a:pt x="1209" y="672"/>
                    <a:pt x="1209" y="672"/>
                  </a:cubicBezTo>
                  <a:lnTo>
                    <a:pt x="1202" y="693"/>
                  </a:lnTo>
                  <a:close/>
                  <a:moveTo>
                    <a:pt x="1418" y="441"/>
                  </a:moveTo>
                  <a:cubicBezTo>
                    <a:pt x="1399" y="434"/>
                    <a:pt x="1399" y="434"/>
                    <a:pt x="1399" y="434"/>
                  </a:cubicBezTo>
                  <a:cubicBezTo>
                    <a:pt x="1399" y="434"/>
                    <a:pt x="1391" y="424"/>
                    <a:pt x="1387" y="416"/>
                  </a:cubicBezTo>
                  <a:cubicBezTo>
                    <a:pt x="1384" y="408"/>
                    <a:pt x="1360" y="413"/>
                    <a:pt x="1360" y="413"/>
                  </a:cubicBezTo>
                  <a:cubicBezTo>
                    <a:pt x="1363" y="442"/>
                    <a:pt x="1363" y="442"/>
                    <a:pt x="1363" y="442"/>
                  </a:cubicBezTo>
                  <a:cubicBezTo>
                    <a:pt x="1379" y="436"/>
                    <a:pt x="1379" y="436"/>
                    <a:pt x="1379" y="436"/>
                  </a:cubicBezTo>
                  <a:cubicBezTo>
                    <a:pt x="1385" y="452"/>
                    <a:pt x="1385" y="452"/>
                    <a:pt x="1385" y="452"/>
                  </a:cubicBezTo>
                  <a:cubicBezTo>
                    <a:pt x="1418" y="477"/>
                    <a:pt x="1418" y="477"/>
                    <a:pt x="1418" y="477"/>
                  </a:cubicBezTo>
                  <a:lnTo>
                    <a:pt x="1418" y="441"/>
                  </a:lnTo>
                  <a:close/>
                  <a:moveTo>
                    <a:pt x="1422" y="758"/>
                  </a:moveTo>
                  <a:cubicBezTo>
                    <a:pt x="1426" y="785"/>
                    <a:pt x="1426" y="785"/>
                    <a:pt x="1426" y="785"/>
                  </a:cubicBezTo>
                  <a:cubicBezTo>
                    <a:pt x="1437" y="763"/>
                    <a:pt x="1437" y="763"/>
                    <a:pt x="1437" y="763"/>
                  </a:cubicBezTo>
                  <a:lnTo>
                    <a:pt x="1422" y="758"/>
                  </a:lnTo>
                  <a:close/>
                  <a:moveTo>
                    <a:pt x="1514" y="791"/>
                  </a:moveTo>
                  <a:cubicBezTo>
                    <a:pt x="1514" y="763"/>
                    <a:pt x="1514" y="763"/>
                    <a:pt x="1514" y="763"/>
                  </a:cubicBezTo>
                  <a:cubicBezTo>
                    <a:pt x="1503" y="763"/>
                    <a:pt x="1503" y="763"/>
                    <a:pt x="1503" y="763"/>
                  </a:cubicBezTo>
                  <a:cubicBezTo>
                    <a:pt x="1499" y="782"/>
                    <a:pt x="1499" y="782"/>
                    <a:pt x="1499" y="782"/>
                  </a:cubicBezTo>
                  <a:cubicBezTo>
                    <a:pt x="1502" y="801"/>
                    <a:pt x="1502" y="801"/>
                    <a:pt x="1502" y="801"/>
                  </a:cubicBezTo>
                  <a:lnTo>
                    <a:pt x="1514" y="791"/>
                  </a:lnTo>
                  <a:close/>
                  <a:moveTo>
                    <a:pt x="1423" y="491"/>
                  </a:moveTo>
                  <a:cubicBezTo>
                    <a:pt x="1415" y="499"/>
                    <a:pt x="1447" y="522"/>
                    <a:pt x="1440" y="526"/>
                  </a:cubicBezTo>
                  <a:cubicBezTo>
                    <a:pt x="1433" y="529"/>
                    <a:pt x="1403" y="532"/>
                    <a:pt x="1403" y="532"/>
                  </a:cubicBezTo>
                  <a:cubicBezTo>
                    <a:pt x="1403" y="553"/>
                    <a:pt x="1403" y="553"/>
                    <a:pt x="1403" y="553"/>
                  </a:cubicBezTo>
                  <a:cubicBezTo>
                    <a:pt x="1389" y="552"/>
                    <a:pt x="1389" y="552"/>
                    <a:pt x="1389" y="552"/>
                  </a:cubicBezTo>
                  <a:cubicBezTo>
                    <a:pt x="1385" y="567"/>
                    <a:pt x="1385" y="567"/>
                    <a:pt x="1385" y="567"/>
                  </a:cubicBezTo>
                  <a:cubicBezTo>
                    <a:pt x="1368" y="576"/>
                    <a:pt x="1368" y="576"/>
                    <a:pt x="1368" y="576"/>
                  </a:cubicBezTo>
                  <a:cubicBezTo>
                    <a:pt x="1368" y="576"/>
                    <a:pt x="1343" y="560"/>
                    <a:pt x="1334" y="568"/>
                  </a:cubicBezTo>
                  <a:cubicBezTo>
                    <a:pt x="1326" y="576"/>
                    <a:pt x="1310" y="604"/>
                    <a:pt x="1310" y="604"/>
                  </a:cubicBezTo>
                  <a:cubicBezTo>
                    <a:pt x="1310" y="604"/>
                    <a:pt x="1300" y="585"/>
                    <a:pt x="1295" y="594"/>
                  </a:cubicBezTo>
                  <a:cubicBezTo>
                    <a:pt x="1290" y="604"/>
                    <a:pt x="1278" y="627"/>
                    <a:pt x="1278" y="627"/>
                  </a:cubicBezTo>
                  <a:cubicBezTo>
                    <a:pt x="1291" y="640"/>
                    <a:pt x="1291" y="640"/>
                    <a:pt x="1291" y="640"/>
                  </a:cubicBezTo>
                  <a:cubicBezTo>
                    <a:pt x="1305" y="627"/>
                    <a:pt x="1305" y="627"/>
                    <a:pt x="1305" y="627"/>
                  </a:cubicBezTo>
                  <a:cubicBezTo>
                    <a:pt x="1314" y="643"/>
                    <a:pt x="1314" y="643"/>
                    <a:pt x="1314" y="643"/>
                  </a:cubicBezTo>
                  <a:cubicBezTo>
                    <a:pt x="1314" y="643"/>
                    <a:pt x="1341" y="621"/>
                    <a:pt x="1348" y="621"/>
                  </a:cubicBezTo>
                  <a:cubicBezTo>
                    <a:pt x="1355" y="621"/>
                    <a:pt x="1377" y="642"/>
                    <a:pt x="1377" y="642"/>
                  </a:cubicBezTo>
                  <a:cubicBezTo>
                    <a:pt x="1377" y="642"/>
                    <a:pt x="1367" y="648"/>
                    <a:pt x="1367" y="657"/>
                  </a:cubicBezTo>
                  <a:cubicBezTo>
                    <a:pt x="1367" y="665"/>
                    <a:pt x="1385" y="701"/>
                    <a:pt x="1394" y="704"/>
                  </a:cubicBezTo>
                  <a:cubicBezTo>
                    <a:pt x="1403" y="707"/>
                    <a:pt x="1427" y="714"/>
                    <a:pt x="1427" y="714"/>
                  </a:cubicBezTo>
                  <a:cubicBezTo>
                    <a:pt x="1440" y="701"/>
                    <a:pt x="1440" y="701"/>
                    <a:pt x="1440" y="701"/>
                  </a:cubicBezTo>
                  <a:cubicBezTo>
                    <a:pt x="1442" y="717"/>
                    <a:pt x="1442" y="717"/>
                    <a:pt x="1442" y="717"/>
                  </a:cubicBezTo>
                  <a:cubicBezTo>
                    <a:pt x="1456" y="719"/>
                    <a:pt x="1456" y="719"/>
                    <a:pt x="1456" y="719"/>
                  </a:cubicBezTo>
                  <a:cubicBezTo>
                    <a:pt x="1457" y="693"/>
                    <a:pt x="1457" y="693"/>
                    <a:pt x="1457" y="693"/>
                  </a:cubicBezTo>
                  <a:cubicBezTo>
                    <a:pt x="1457" y="693"/>
                    <a:pt x="1437" y="671"/>
                    <a:pt x="1442" y="658"/>
                  </a:cubicBezTo>
                  <a:cubicBezTo>
                    <a:pt x="1447" y="645"/>
                    <a:pt x="1454" y="642"/>
                    <a:pt x="1454" y="642"/>
                  </a:cubicBezTo>
                  <a:cubicBezTo>
                    <a:pt x="1471" y="676"/>
                    <a:pt x="1471" y="676"/>
                    <a:pt x="1471" y="676"/>
                  </a:cubicBezTo>
                  <a:cubicBezTo>
                    <a:pt x="1471" y="676"/>
                    <a:pt x="1490" y="650"/>
                    <a:pt x="1490" y="634"/>
                  </a:cubicBezTo>
                  <a:cubicBezTo>
                    <a:pt x="1490" y="617"/>
                    <a:pt x="1478" y="599"/>
                    <a:pt x="1478" y="599"/>
                  </a:cubicBezTo>
                  <a:cubicBezTo>
                    <a:pt x="1478" y="560"/>
                    <a:pt x="1478" y="560"/>
                    <a:pt x="1478" y="560"/>
                  </a:cubicBezTo>
                  <a:cubicBezTo>
                    <a:pt x="1478" y="560"/>
                    <a:pt x="1478" y="529"/>
                    <a:pt x="1468" y="524"/>
                  </a:cubicBezTo>
                  <a:cubicBezTo>
                    <a:pt x="1457" y="519"/>
                    <a:pt x="1432" y="483"/>
                    <a:pt x="1423" y="491"/>
                  </a:cubicBezTo>
                  <a:close/>
                  <a:moveTo>
                    <a:pt x="1218" y="315"/>
                  </a:moveTo>
                  <a:cubicBezTo>
                    <a:pt x="1218" y="315"/>
                    <a:pt x="1216" y="295"/>
                    <a:pt x="1209" y="288"/>
                  </a:cubicBezTo>
                  <a:cubicBezTo>
                    <a:pt x="1202" y="282"/>
                    <a:pt x="1173" y="285"/>
                    <a:pt x="1173" y="285"/>
                  </a:cubicBezTo>
                  <a:cubicBezTo>
                    <a:pt x="1194" y="313"/>
                    <a:pt x="1194" y="313"/>
                    <a:pt x="1194" y="313"/>
                  </a:cubicBezTo>
                  <a:cubicBezTo>
                    <a:pt x="1207" y="357"/>
                    <a:pt x="1207" y="357"/>
                    <a:pt x="1207" y="357"/>
                  </a:cubicBezTo>
                  <a:cubicBezTo>
                    <a:pt x="1207" y="357"/>
                    <a:pt x="1219" y="347"/>
                    <a:pt x="1224" y="339"/>
                  </a:cubicBezTo>
                  <a:cubicBezTo>
                    <a:pt x="1230" y="331"/>
                    <a:pt x="1218" y="315"/>
                    <a:pt x="1218" y="315"/>
                  </a:cubicBezTo>
                  <a:close/>
                  <a:moveTo>
                    <a:pt x="1259" y="684"/>
                  </a:moveTo>
                  <a:cubicBezTo>
                    <a:pt x="1284" y="706"/>
                    <a:pt x="1284" y="706"/>
                    <a:pt x="1284" y="706"/>
                  </a:cubicBezTo>
                  <a:cubicBezTo>
                    <a:pt x="1286" y="679"/>
                    <a:pt x="1286" y="679"/>
                    <a:pt x="1286" y="679"/>
                  </a:cubicBezTo>
                  <a:cubicBezTo>
                    <a:pt x="1271" y="668"/>
                    <a:pt x="1271" y="668"/>
                    <a:pt x="1271" y="668"/>
                  </a:cubicBezTo>
                  <a:lnTo>
                    <a:pt x="1259" y="684"/>
                  </a:lnTo>
                  <a:close/>
                  <a:moveTo>
                    <a:pt x="3099" y="1448"/>
                  </a:moveTo>
                  <a:cubicBezTo>
                    <a:pt x="3099" y="1448"/>
                    <a:pt x="3088" y="1483"/>
                    <a:pt x="3094" y="1494"/>
                  </a:cubicBezTo>
                  <a:cubicBezTo>
                    <a:pt x="3101" y="1504"/>
                    <a:pt x="3128" y="1524"/>
                    <a:pt x="3128" y="1524"/>
                  </a:cubicBezTo>
                  <a:lnTo>
                    <a:pt x="3099" y="1448"/>
                  </a:lnTo>
                  <a:close/>
                  <a:moveTo>
                    <a:pt x="3038" y="1506"/>
                  </a:moveTo>
                  <a:cubicBezTo>
                    <a:pt x="3038" y="1506"/>
                    <a:pt x="3034" y="1525"/>
                    <a:pt x="3052" y="1533"/>
                  </a:cubicBezTo>
                  <a:cubicBezTo>
                    <a:pt x="3078" y="1544"/>
                    <a:pt x="3093" y="1536"/>
                    <a:pt x="3093" y="1536"/>
                  </a:cubicBezTo>
                  <a:cubicBezTo>
                    <a:pt x="3093" y="1536"/>
                    <a:pt x="3092" y="1524"/>
                    <a:pt x="3073" y="1513"/>
                  </a:cubicBezTo>
                  <a:cubicBezTo>
                    <a:pt x="3055" y="1503"/>
                    <a:pt x="3038" y="1506"/>
                    <a:pt x="3038" y="1506"/>
                  </a:cubicBezTo>
                  <a:close/>
                  <a:moveTo>
                    <a:pt x="3157" y="1579"/>
                  </a:moveTo>
                  <a:cubicBezTo>
                    <a:pt x="3115" y="1557"/>
                    <a:pt x="3115" y="1557"/>
                    <a:pt x="3115" y="1557"/>
                  </a:cubicBezTo>
                  <a:cubicBezTo>
                    <a:pt x="3148" y="1599"/>
                    <a:pt x="3148" y="1599"/>
                    <a:pt x="3148" y="1599"/>
                  </a:cubicBezTo>
                  <a:lnTo>
                    <a:pt x="3157" y="1579"/>
                  </a:lnTo>
                  <a:close/>
                  <a:moveTo>
                    <a:pt x="3048" y="1466"/>
                  </a:moveTo>
                  <a:cubicBezTo>
                    <a:pt x="3064" y="1464"/>
                    <a:pt x="2996" y="1394"/>
                    <a:pt x="2991" y="1405"/>
                  </a:cubicBezTo>
                  <a:cubicBezTo>
                    <a:pt x="2985" y="1415"/>
                    <a:pt x="3040" y="1468"/>
                    <a:pt x="3048" y="1466"/>
                  </a:cubicBezTo>
                  <a:close/>
                  <a:moveTo>
                    <a:pt x="2949" y="1490"/>
                  </a:moveTo>
                  <a:cubicBezTo>
                    <a:pt x="2974" y="1487"/>
                    <a:pt x="2974" y="1487"/>
                    <a:pt x="2974" y="1487"/>
                  </a:cubicBezTo>
                  <a:cubicBezTo>
                    <a:pt x="2942" y="1467"/>
                    <a:pt x="2942" y="1467"/>
                    <a:pt x="2942" y="1467"/>
                  </a:cubicBezTo>
                  <a:lnTo>
                    <a:pt x="2949" y="1490"/>
                  </a:lnTo>
                  <a:close/>
                  <a:moveTo>
                    <a:pt x="2963" y="1455"/>
                  </a:moveTo>
                  <a:cubicBezTo>
                    <a:pt x="2961" y="1445"/>
                    <a:pt x="2961" y="1445"/>
                    <a:pt x="2961" y="1445"/>
                  </a:cubicBezTo>
                  <a:cubicBezTo>
                    <a:pt x="2935" y="1445"/>
                    <a:pt x="2935" y="1445"/>
                    <a:pt x="2935" y="1445"/>
                  </a:cubicBezTo>
                  <a:cubicBezTo>
                    <a:pt x="2936" y="1461"/>
                    <a:pt x="2936" y="1461"/>
                    <a:pt x="2936" y="1461"/>
                  </a:cubicBezTo>
                  <a:lnTo>
                    <a:pt x="2963" y="1455"/>
                  </a:lnTo>
                  <a:close/>
                  <a:moveTo>
                    <a:pt x="2932" y="1431"/>
                  </a:moveTo>
                  <a:cubicBezTo>
                    <a:pt x="2910" y="1434"/>
                    <a:pt x="2910" y="1434"/>
                    <a:pt x="2910" y="1434"/>
                  </a:cubicBezTo>
                  <a:cubicBezTo>
                    <a:pt x="2910" y="1448"/>
                    <a:pt x="2910" y="1448"/>
                    <a:pt x="2910" y="1448"/>
                  </a:cubicBezTo>
                  <a:cubicBezTo>
                    <a:pt x="2923" y="1453"/>
                    <a:pt x="2923" y="1453"/>
                    <a:pt x="2923" y="1453"/>
                  </a:cubicBezTo>
                  <a:lnTo>
                    <a:pt x="2932" y="1431"/>
                  </a:lnTo>
                  <a:close/>
                  <a:moveTo>
                    <a:pt x="2931" y="1378"/>
                  </a:moveTo>
                  <a:cubicBezTo>
                    <a:pt x="2919" y="1364"/>
                    <a:pt x="2919" y="1364"/>
                    <a:pt x="2919" y="1364"/>
                  </a:cubicBezTo>
                  <a:cubicBezTo>
                    <a:pt x="2912" y="1380"/>
                    <a:pt x="2912" y="1380"/>
                    <a:pt x="2912" y="1380"/>
                  </a:cubicBezTo>
                  <a:cubicBezTo>
                    <a:pt x="2925" y="1396"/>
                    <a:pt x="2925" y="1396"/>
                    <a:pt x="2925" y="1396"/>
                  </a:cubicBezTo>
                  <a:lnTo>
                    <a:pt x="2931" y="1378"/>
                  </a:lnTo>
                  <a:close/>
                  <a:moveTo>
                    <a:pt x="2610" y="1358"/>
                  </a:moveTo>
                  <a:cubicBezTo>
                    <a:pt x="2621" y="1349"/>
                    <a:pt x="2621" y="1349"/>
                    <a:pt x="2621" y="1349"/>
                  </a:cubicBezTo>
                  <a:cubicBezTo>
                    <a:pt x="2621" y="1349"/>
                    <a:pt x="2633" y="1349"/>
                    <a:pt x="2646" y="1348"/>
                  </a:cubicBezTo>
                  <a:cubicBezTo>
                    <a:pt x="2660" y="1346"/>
                    <a:pt x="2670" y="1326"/>
                    <a:pt x="2670" y="1326"/>
                  </a:cubicBezTo>
                  <a:cubicBezTo>
                    <a:pt x="2689" y="1321"/>
                    <a:pt x="2689" y="1321"/>
                    <a:pt x="2689" y="1321"/>
                  </a:cubicBezTo>
                  <a:cubicBezTo>
                    <a:pt x="2683" y="1304"/>
                    <a:pt x="2683" y="1304"/>
                    <a:pt x="2683" y="1304"/>
                  </a:cubicBezTo>
                  <a:cubicBezTo>
                    <a:pt x="2701" y="1307"/>
                    <a:pt x="2701" y="1307"/>
                    <a:pt x="2701" y="1307"/>
                  </a:cubicBezTo>
                  <a:cubicBezTo>
                    <a:pt x="2701" y="1307"/>
                    <a:pt x="2709" y="1255"/>
                    <a:pt x="2702" y="1238"/>
                  </a:cubicBezTo>
                  <a:cubicBezTo>
                    <a:pt x="2695" y="1220"/>
                    <a:pt x="2664" y="1239"/>
                    <a:pt x="2655" y="1248"/>
                  </a:cubicBezTo>
                  <a:cubicBezTo>
                    <a:pt x="2646" y="1257"/>
                    <a:pt x="2668" y="1269"/>
                    <a:pt x="2668" y="1269"/>
                  </a:cubicBezTo>
                  <a:cubicBezTo>
                    <a:pt x="2670" y="1282"/>
                    <a:pt x="2670" y="1282"/>
                    <a:pt x="2670" y="1282"/>
                  </a:cubicBezTo>
                  <a:cubicBezTo>
                    <a:pt x="2623" y="1307"/>
                    <a:pt x="2623" y="1307"/>
                    <a:pt x="2623" y="1307"/>
                  </a:cubicBezTo>
                  <a:cubicBezTo>
                    <a:pt x="2623" y="1307"/>
                    <a:pt x="2599" y="1305"/>
                    <a:pt x="2583" y="1308"/>
                  </a:cubicBezTo>
                  <a:cubicBezTo>
                    <a:pt x="2567" y="1311"/>
                    <a:pt x="2561" y="1320"/>
                    <a:pt x="2551" y="1326"/>
                  </a:cubicBezTo>
                  <a:cubicBezTo>
                    <a:pt x="2541" y="1332"/>
                    <a:pt x="2535" y="1320"/>
                    <a:pt x="2529" y="1332"/>
                  </a:cubicBezTo>
                  <a:cubicBezTo>
                    <a:pt x="2545" y="1355"/>
                    <a:pt x="2545" y="1355"/>
                    <a:pt x="2545" y="1355"/>
                  </a:cubicBezTo>
                  <a:lnTo>
                    <a:pt x="2610" y="1358"/>
                  </a:lnTo>
                  <a:close/>
                  <a:moveTo>
                    <a:pt x="2817" y="1323"/>
                  </a:moveTo>
                  <a:cubicBezTo>
                    <a:pt x="2834" y="1355"/>
                    <a:pt x="2834" y="1355"/>
                    <a:pt x="2834" y="1355"/>
                  </a:cubicBezTo>
                  <a:cubicBezTo>
                    <a:pt x="2877" y="1398"/>
                    <a:pt x="2877" y="1398"/>
                    <a:pt x="2877" y="1398"/>
                  </a:cubicBezTo>
                  <a:cubicBezTo>
                    <a:pt x="2875" y="1347"/>
                    <a:pt x="2875" y="1347"/>
                    <a:pt x="2875" y="1347"/>
                  </a:cubicBezTo>
                  <a:cubicBezTo>
                    <a:pt x="2834" y="1300"/>
                    <a:pt x="2834" y="1300"/>
                    <a:pt x="2834" y="1300"/>
                  </a:cubicBezTo>
                  <a:cubicBezTo>
                    <a:pt x="2834" y="1300"/>
                    <a:pt x="2830" y="1275"/>
                    <a:pt x="2811" y="1283"/>
                  </a:cubicBezTo>
                  <a:cubicBezTo>
                    <a:pt x="2800" y="1288"/>
                    <a:pt x="2806" y="1304"/>
                    <a:pt x="2806" y="1304"/>
                  </a:cubicBezTo>
                  <a:lnTo>
                    <a:pt x="2817" y="1323"/>
                  </a:lnTo>
                  <a:close/>
                  <a:moveTo>
                    <a:pt x="2597" y="1562"/>
                  </a:moveTo>
                  <a:cubicBezTo>
                    <a:pt x="2599" y="1551"/>
                    <a:pt x="2599" y="1551"/>
                    <a:pt x="2599" y="1551"/>
                  </a:cubicBezTo>
                  <a:cubicBezTo>
                    <a:pt x="2572" y="1534"/>
                    <a:pt x="2572" y="1534"/>
                    <a:pt x="2572" y="1534"/>
                  </a:cubicBezTo>
                  <a:cubicBezTo>
                    <a:pt x="2584" y="1524"/>
                    <a:pt x="2584" y="1524"/>
                    <a:pt x="2584" y="1524"/>
                  </a:cubicBezTo>
                  <a:cubicBezTo>
                    <a:pt x="2584" y="1524"/>
                    <a:pt x="2560" y="1523"/>
                    <a:pt x="2553" y="1516"/>
                  </a:cubicBezTo>
                  <a:cubicBezTo>
                    <a:pt x="2547" y="1509"/>
                    <a:pt x="2555" y="1495"/>
                    <a:pt x="2555" y="1486"/>
                  </a:cubicBezTo>
                  <a:cubicBezTo>
                    <a:pt x="2555" y="1477"/>
                    <a:pt x="2522" y="1494"/>
                    <a:pt x="2522" y="1494"/>
                  </a:cubicBezTo>
                  <a:cubicBezTo>
                    <a:pt x="2521" y="1473"/>
                    <a:pt x="2521" y="1473"/>
                    <a:pt x="2521" y="1473"/>
                  </a:cubicBezTo>
                  <a:cubicBezTo>
                    <a:pt x="2504" y="1465"/>
                    <a:pt x="2504" y="1465"/>
                    <a:pt x="2504" y="1465"/>
                  </a:cubicBezTo>
                  <a:cubicBezTo>
                    <a:pt x="2504" y="1435"/>
                    <a:pt x="2504" y="1435"/>
                    <a:pt x="2504" y="1435"/>
                  </a:cubicBezTo>
                  <a:cubicBezTo>
                    <a:pt x="2468" y="1409"/>
                    <a:pt x="2468" y="1409"/>
                    <a:pt x="2468" y="1409"/>
                  </a:cubicBezTo>
                  <a:cubicBezTo>
                    <a:pt x="2451" y="1372"/>
                    <a:pt x="2451" y="1372"/>
                    <a:pt x="2451" y="1372"/>
                  </a:cubicBezTo>
                  <a:cubicBezTo>
                    <a:pt x="2451" y="1372"/>
                    <a:pt x="2489" y="1359"/>
                    <a:pt x="2489" y="1343"/>
                  </a:cubicBezTo>
                  <a:cubicBezTo>
                    <a:pt x="2489" y="1327"/>
                    <a:pt x="2455" y="1318"/>
                    <a:pt x="2455" y="1318"/>
                  </a:cubicBezTo>
                  <a:cubicBezTo>
                    <a:pt x="2453" y="1314"/>
                    <a:pt x="2403" y="1300"/>
                    <a:pt x="2403" y="1300"/>
                  </a:cubicBezTo>
                  <a:cubicBezTo>
                    <a:pt x="2403" y="1300"/>
                    <a:pt x="2399" y="1287"/>
                    <a:pt x="2403" y="1267"/>
                  </a:cubicBezTo>
                  <a:cubicBezTo>
                    <a:pt x="2407" y="1248"/>
                    <a:pt x="2379" y="1245"/>
                    <a:pt x="2379" y="1245"/>
                  </a:cubicBezTo>
                  <a:cubicBezTo>
                    <a:pt x="2347" y="1211"/>
                    <a:pt x="2347" y="1211"/>
                    <a:pt x="2347" y="1211"/>
                  </a:cubicBezTo>
                  <a:cubicBezTo>
                    <a:pt x="2322" y="1212"/>
                    <a:pt x="2322" y="1212"/>
                    <a:pt x="2322" y="1212"/>
                  </a:cubicBezTo>
                  <a:cubicBezTo>
                    <a:pt x="2298" y="1189"/>
                    <a:pt x="2298" y="1189"/>
                    <a:pt x="2298" y="1189"/>
                  </a:cubicBezTo>
                  <a:cubicBezTo>
                    <a:pt x="2278" y="1185"/>
                    <a:pt x="2278" y="1185"/>
                    <a:pt x="2278" y="1185"/>
                  </a:cubicBezTo>
                  <a:cubicBezTo>
                    <a:pt x="2196" y="1147"/>
                    <a:pt x="2196" y="1147"/>
                    <a:pt x="2196" y="1147"/>
                  </a:cubicBezTo>
                  <a:cubicBezTo>
                    <a:pt x="2180" y="1153"/>
                    <a:pt x="2180" y="1153"/>
                    <a:pt x="2180" y="1153"/>
                  </a:cubicBezTo>
                  <a:cubicBezTo>
                    <a:pt x="2153" y="1134"/>
                    <a:pt x="2153" y="1134"/>
                    <a:pt x="2153" y="1134"/>
                  </a:cubicBezTo>
                  <a:cubicBezTo>
                    <a:pt x="2153" y="1134"/>
                    <a:pt x="2134" y="1136"/>
                    <a:pt x="2124" y="1136"/>
                  </a:cubicBezTo>
                  <a:cubicBezTo>
                    <a:pt x="2113" y="1136"/>
                    <a:pt x="2045" y="1093"/>
                    <a:pt x="2032" y="1089"/>
                  </a:cubicBezTo>
                  <a:cubicBezTo>
                    <a:pt x="2019" y="1085"/>
                    <a:pt x="1998" y="1104"/>
                    <a:pt x="1998" y="1104"/>
                  </a:cubicBezTo>
                  <a:cubicBezTo>
                    <a:pt x="2007" y="1122"/>
                    <a:pt x="2007" y="1122"/>
                    <a:pt x="2007" y="1122"/>
                  </a:cubicBezTo>
                  <a:cubicBezTo>
                    <a:pt x="1956" y="1127"/>
                    <a:pt x="1956" y="1127"/>
                    <a:pt x="1956" y="1127"/>
                  </a:cubicBezTo>
                  <a:cubicBezTo>
                    <a:pt x="1960" y="1145"/>
                    <a:pt x="1960" y="1145"/>
                    <a:pt x="1960" y="1145"/>
                  </a:cubicBezTo>
                  <a:cubicBezTo>
                    <a:pt x="1960" y="1145"/>
                    <a:pt x="1950" y="1176"/>
                    <a:pt x="1913" y="1183"/>
                  </a:cubicBezTo>
                  <a:cubicBezTo>
                    <a:pt x="1876" y="1191"/>
                    <a:pt x="1886" y="1142"/>
                    <a:pt x="1880" y="1142"/>
                  </a:cubicBezTo>
                  <a:cubicBezTo>
                    <a:pt x="1875" y="1142"/>
                    <a:pt x="1869" y="1164"/>
                    <a:pt x="1869" y="1164"/>
                  </a:cubicBezTo>
                  <a:cubicBezTo>
                    <a:pt x="1869" y="1164"/>
                    <a:pt x="1861" y="1147"/>
                    <a:pt x="1861" y="1138"/>
                  </a:cubicBezTo>
                  <a:cubicBezTo>
                    <a:pt x="1861" y="1128"/>
                    <a:pt x="1862" y="1101"/>
                    <a:pt x="1859" y="1084"/>
                  </a:cubicBezTo>
                  <a:cubicBezTo>
                    <a:pt x="1857" y="1067"/>
                    <a:pt x="1846" y="1049"/>
                    <a:pt x="1846" y="1049"/>
                  </a:cubicBezTo>
                  <a:cubicBezTo>
                    <a:pt x="1820" y="1049"/>
                    <a:pt x="1820" y="1049"/>
                    <a:pt x="1820" y="1049"/>
                  </a:cubicBezTo>
                  <a:cubicBezTo>
                    <a:pt x="1820" y="1049"/>
                    <a:pt x="1799" y="1025"/>
                    <a:pt x="1781" y="1025"/>
                  </a:cubicBezTo>
                  <a:cubicBezTo>
                    <a:pt x="1763" y="1025"/>
                    <a:pt x="1744" y="1050"/>
                    <a:pt x="1744" y="1050"/>
                  </a:cubicBezTo>
                  <a:cubicBezTo>
                    <a:pt x="1728" y="1054"/>
                    <a:pt x="1728" y="1054"/>
                    <a:pt x="1728" y="1054"/>
                  </a:cubicBezTo>
                  <a:cubicBezTo>
                    <a:pt x="1723" y="1066"/>
                    <a:pt x="1723" y="1066"/>
                    <a:pt x="1723" y="1066"/>
                  </a:cubicBezTo>
                  <a:cubicBezTo>
                    <a:pt x="1711" y="1072"/>
                    <a:pt x="1711" y="1072"/>
                    <a:pt x="1711" y="1072"/>
                  </a:cubicBezTo>
                  <a:cubicBezTo>
                    <a:pt x="1711" y="1063"/>
                    <a:pt x="1711" y="1063"/>
                    <a:pt x="1711" y="1063"/>
                  </a:cubicBezTo>
                  <a:cubicBezTo>
                    <a:pt x="1711" y="1063"/>
                    <a:pt x="1704" y="1051"/>
                    <a:pt x="1693" y="1055"/>
                  </a:cubicBezTo>
                  <a:cubicBezTo>
                    <a:pt x="1693" y="1055"/>
                    <a:pt x="1693" y="1068"/>
                    <a:pt x="1702" y="1081"/>
                  </a:cubicBezTo>
                  <a:cubicBezTo>
                    <a:pt x="1711" y="1094"/>
                    <a:pt x="1732" y="1087"/>
                    <a:pt x="1749" y="1092"/>
                  </a:cubicBezTo>
                  <a:cubicBezTo>
                    <a:pt x="1766" y="1097"/>
                    <a:pt x="1751" y="1105"/>
                    <a:pt x="1760" y="1121"/>
                  </a:cubicBezTo>
                  <a:cubicBezTo>
                    <a:pt x="1769" y="1136"/>
                    <a:pt x="1799" y="1123"/>
                    <a:pt x="1821" y="1123"/>
                  </a:cubicBezTo>
                  <a:cubicBezTo>
                    <a:pt x="1844" y="1123"/>
                    <a:pt x="1845" y="1128"/>
                    <a:pt x="1845" y="1139"/>
                  </a:cubicBezTo>
                  <a:cubicBezTo>
                    <a:pt x="1845" y="1149"/>
                    <a:pt x="1819" y="1139"/>
                    <a:pt x="1811" y="1140"/>
                  </a:cubicBezTo>
                  <a:cubicBezTo>
                    <a:pt x="1803" y="1142"/>
                    <a:pt x="1785" y="1153"/>
                    <a:pt x="1785" y="1153"/>
                  </a:cubicBezTo>
                  <a:cubicBezTo>
                    <a:pt x="1785" y="1153"/>
                    <a:pt x="1757" y="1153"/>
                    <a:pt x="1751" y="1160"/>
                  </a:cubicBezTo>
                  <a:cubicBezTo>
                    <a:pt x="1744" y="1166"/>
                    <a:pt x="1774" y="1173"/>
                    <a:pt x="1781" y="1177"/>
                  </a:cubicBezTo>
                  <a:cubicBezTo>
                    <a:pt x="1787" y="1181"/>
                    <a:pt x="1797" y="1197"/>
                    <a:pt x="1797" y="1197"/>
                  </a:cubicBezTo>
                  <a:cubicBezTo>
                    <a:pt x="1797" y="1197"/>
                    <a:pt x="1781" y="1216"/>
                    <a:pt x="1790" y="1229"/>
                  </a:cubicBezTo>
                  <a:cubicBezTo>
                    <a:pt x="1799" y="1242"/>
                    <a:pt x="1819" y="1207"/>
                    <a:pt x="1819" y="1203"/>
                  </a:cubicBezTo>
                  <a:cubicBezTo>
                    <a:pt x="1819" y="1199"/>
                    <a:pt x="1838" y="1170"/>
                    <a:pt x="1838" y="1170"/>
                  </a:cubicBezTo>
                  <a:cubicBezTo>
                    <a:pt x="1836" y="1195"/>
                    <a:pt x="1836" y="1195"/>
                    <a:pt x="1836" y="1195"/>
                  </a:cubicBezTo>
                  <a:cubicBezTo>
                    <a:pt x="1836" y="1195"/>
                    <a:pt x="1849" y="1208"/>
                    <a:pt x="1859" y="1217"/>
                  </a:cubicBezTo>
                  <a:cubicBezTo>
                    <a:pt x="1870" y="1227"/>
                    <a:pt x="1891" y="1219"/>
                    <a:pt x="1891" y="1219"/>
                  </a:cubicBezTo>
                  <a:cubicBezTo>
                    <a:pt x="1882" y="1228"/>
                    <a:pt x="1882" y="1228"/>
                    <a:pt x="1882" y="1228"/>
                  </a:cubicBezTo>
                  <a:cubicBezTo>
                    <a:pt x="1903" y="1248"/>
                    <a:pt x="1903" y="1248"/>
                    <a:pt x="1903" y="1248"/>
                  </a:cubicBezTo>
                  <a:cubicBezTo>
                    <a:pt x="1941" y="1249"/>
                    <a:pt x="1941" y="1249"/>
                    <a:pt x="1941" y="1249"/>
                  </a:cubicBezTo>
                  <a:cubicBezTo>
                    <a:pt x="1964" y="1266"/>
                    <a:pt x="1964" y="1266"/>
                    <a:pt x="1964" y="1266"/>
                  </a:cubicBezTo>
                  <a:cubicBezTo>
                    <a:pt x="1964" y="1266"/>
                    <a:pt x="2006" y="1280"/>
                    <a:pt x="2030" y="1297"/>
                  </a:cubicBezTo>
                  <a:cubicBezTo>
                    <a:pt x="2053" y="1314"/>
                    <a:pt x="2048" y="1320"/>
                    <a:pt x="2049" y="1339"/>
                  </a:cubicBezTo>
                  <a:cubicBezTo>
                    <a:pt x="2051" y="1359"/>
                    <a:pt x="2073" y="1368"/>
                    <a:pt x="2073" y="1368"/>
                  </a:cubicBezTo>
                  <a:cubicBezTo>
                    <a:pt x="2073" y="1368"/>
                    <a:pt x="2056" y="1371"/>
                    <a:pt x="2056" y="1380"/>
                  </a:cubicBezTo>
                  <a:cubicBezTo>
                    <a:pt x="2056" y="1389"/>
                    <a:pt x="2082" y="1390"/>
                    <a:pt x="2082" y="1390"/>
                  </a:cubicBezTo>
                  <a:cubicBezTo>
                    <a:pt x="2066" y="1396"/>
                    <a:pt x="2066" y="1396"/>
                    <a:pt x="2066" y="1396"/>
                  </a:cubicBezTo>
                  <a:cubicBezTo>
                    <a:pt x="2067" y="1404"/>
                    <a:pt x="2067" y="1404"/>
                    <a:pt x="2067" y="1404"/>
                  </a:cubicBezTo>
                  <a:cubicBezTo>
                    <a:pt x="2072" y="1407"/>
                    <a:pt x="2072" y="1407"/>
                    <a:pt x="2072" y="1407"/>
                  </a:cubicBezTo>
                  <a:cubicBezTo>
                    <a:pt x="2077" y="1428"/>
                    <a:pt x="2077" y="1428"/>
                    <a:pt x="2077" y="1428"/>
                  </a:cubicBezTo>
                  <a:cubicBezTo>
                    <a:pt x="2067" y="1449"/>
                    <a:pt x="2067" y="1449"/>
                    <a:pt x="2067" y="1449"/>
                  </a:cubicBezTo>
                  <a:cubicBezTo>
                    <a:pt x="2073" y="1448"/>
                    <a:pt x="2078" y="1447"/>
                    <a:pt x="2081" y="1448"/>
                  </a:cubicBezTo>
                  <a:cubicBezTo>
                    <a:pt x="2086" y="1451"/>
                    <a:pt x="2120" y="1436"/>
                    <a:pt x="2120" y="1436"/>
                  </a:cubicBezTo>
                  <a:cubicBezTo>
                    <a:pt x="2120" y="1454"/>
                    <a:pt x="2120" y="1454"/>
                    <a:pt x="2120" y="1454"/>
                  </a:cubicBezTo>
                  <a:cubicBezTo>
                    <a:pt x="2120" y="1454"/>
                    <a:pt x="2147" y="1487"/>
                    <a:pt x="2159" y="1496"/>
                  </a:cubicBezTo>
                  <a:cubicBezTo>
                    <a:pt x="2161" y="1497"/>
                    <a:pt x="2162" y="1498"/>
                    <a:pt x="2164" y="1499"/>
                  </a:cubicBezTo>
                  <a:cubicBezTo>
                    <a:pt x="2164" y="1499"/>
                    <a:pt x="2164" y="1499"/>
                    <a:pt x="2164" y="1499"/>
                  </a:cubicBezTo>
                  <a:cubicBezTo>
                    <a:pt x="2181" y="1503"/>
                    <a:pt x="2222" y="1494"/>
                    <a:pt x="2222" y="1494"/>
                  </a:cubicBezTo>
                  <a:cubicBezTo>
                    <a:pt x="2235" y="1506"/>
                    <a:pt x="2235" y="1506"/>
                    <a:pt x="2235" y="1506"/>
                  </a:cubicBezTo>
                  <a:cubicBezTo>
                    <a:pt x="2235" y="1506"/>
                    <a:pt x="2261" y="1496"/>
                    <a:pt x="2273" y="1486"/>
                  </a:cubicBezTo>
                  <a:cubicBezTo>
                    <a:pt x="2285" y="1475"/>
                    <a:pt x="2218" y="1445"/>
                    <a:pt x="2218" y="1445"/>
                  </a:cubicBezTo>
                  <a:cubicBezTo>
                    <a:pt x="2218" y="1445"/>
                    <a:pt x="2273" y="1453"/>
                    <a:pt x="2285" y="1451"/>
                  </a:cubicBezTo>
                  <a:cubicBezTo>
                    <a:pt x="2297" y="1448"/>
                    <a:pt x="2277" y="1427"/>
                    <a:pt x="2277" y="1427"/>
                  </a:cubicBezTo>
                  <a:cubicBezTo>
                    <a:pt x="2277" y="1427"/>
                    <a:pt x="2293" y="1439"/>
                    <a:pt x="2298" y="1436"/>
                  </a:cubicBezTo>
                  <a:cubicBezTo>
                    <a:pt x="2303" y="1434"/>
                    <a:pt x="2293" y="1411"/>
                    <a:pt x="2293" y="1411"/>
                  </a:cubicBezTo>
                  <a:cubicBezTo>
                    <a:pt x="2293" y="1411"/>
                    <a:pt x="2303" y="1420"/>
                    <a:pt x="2310" y="1422"/>
                  </a:cubicBezTo>
                  <a:cubicBezTo>
                    <a:pt x="2316" y="1423"/>
                    <a:pt x="2326" y="1410"/>
                    <a:pt x="2332" y="1409"/>
                  </a:cubicBezTo>
                  <a:cubicBezTo>
                    <a:pt x="2339" y="1407"/>
                    <a:pt x="2349" y="1427"/>
                    <a:pt x="2356" y="1431"/>
                  </a:cubicBezTo>
                  <a:cubicBezTo>
                    <a:pt x="2362" y="1435"/>
                    <a:pt x="2387" y="1430"/>
                    <a:pt x="2405" y="1440"/>
                  </a:cubicBezTo>
                  <a:cubicBezTo>
                    <a:pt x="2424" y="1451"/>
                    <a:pt x="2417" y="1474"/>
                    <a:pt x="2424" y="1486"/>
                  </a:cubicBezTo>
                  <a:cubicBezTo>
                    <a:pt x="2430" y="1498"/>
                    <a:pt x="2443" y="1490"/>
                    <a:pt x="2449" y="1496"/>
                  </a:cubicBezTo>
                  <a:cubicBezTo>
                    <a:pt x="2454" y="1503"/>
                    <a:pt x="2463" y="1544"/>
                    <a:pt x="2477" y="1554"/>
                  </a:cubicBezTo>
                  <a:cubicBezTo>
                    <a:pt x="2492" y="1564"/>
                    <a:pt x="2556" y="1558"/>
                    <a:pt x="2565" y="1562"/>
                  </a:cubicBezTo>
                  <a:cubicBezTo>
                    <a:pt x="2574" y="1566"/>
                    <a:pt x="2594" y="1589"/>
                    <a:pt x="2606" y="1589"/>
                  </a:cubicBezTo>
                  <a:cubicBezTo>
                    <a:pt x="2618" y="1589"/>
                    <a:pt x="2597" y="1562"/>
                    <a:pt x="2597" y="1562"/>
                  </a:cubicBezTo>
                  <a:close/>
                  <a:moveTo>
                    <a:pt x="2478" y="1105"/>
                  </a:moveTo>
                  <a:cubicBezTo>
                    <a:pt x="2465" y="1098"/>
                    <a:pt x="2443" y="1117"/>
                    <a:pt x="2443" y="1117"/>
                  </a:cubicBezTo>
                  <a:cubicBezTo>
                    <a:pt x="2462" y="1129"/>
                    <a:pt x="2462" y="1129"/>
                    <a:pt x="2462" y="1129"/>
                  </a:cubicBezTo>
                  <a:cubicBezTo>
                    <a:pt x="2480" y="1133"/>
                    <a:pt x="2491" y="1112"/>
                    <a:pt x="2478" y="1105"/>
                  </a:cubicBezTo>
                  <a:close/>
                  <a:moveTo>
                    <a:pt x="2692" y="1200"/>
                  </a:moveTo>
                  <a:cubicBezTo>
                    <a:pt x="2698" y="1205"/>
                    <a:pt x="2718" y="1207"/>
                    <a:pt x="2723" y="1220"/>
                  </a:cubicBezTo>
                  <a:cubicBezTo>
                    <a:pt x="2727" y="1233"/>
                    <a:pt x="2709" y="1277"/>
                    <a:pt x="2736" y="1279"/>
                  </a:cubicBezTo>
                  <a:cubicBezTo>
                    <a:pt x="2751" y="1280"/>
                    <a:pt x="2759" y="1248"/>
                    <a:pt x="2746" y="1229"/>
                  </a:cubicBezTo>
                  <a:cubicBezTo>
                    <a:pt x="2733" y="1210"/>
                    <a:pt x="2711" y="1192"/>
                    <a:pt x="2711" y="1192"/>
                  </a:cubicBezTo>
                  <a:cubicBezTo>
                    <a:pt x="2702" y="1192"/>
                    <a:pt x="2702" y="1192"/>
                    <a:pt x="2702" y="1192"/>
                  </a:cubicBezTo>
                  <a:cubicBezTo>
                    <a:pt x="2702" y="1192"/>
                    <a:pt x="2671" y="1158"/>
                    <a:pt x="2667" y="1156"/>
                  </a:cubicBezTo>
                  <a:cubicBezTo>
                    <a:pt x="2663" y="1153"/>
                    <a:pt x="2655" y="1153"/>
                    <a:pt x="2655" y="1153"/>
                  </a:cubicBezTo>
                  <a:cubicBezTo>
                    <a:pt x="2641" y="1129"/>
                    <a:pt x="2641" y="1129"/>
                    <a:pt x="2641" y="1129"/>
                  </a:cubicBezTo>
                  <a:cubicBezTo>
                    <a:pt x="2633" y="1161"/>
                    <a:pt x="2633" y="1161"/>
                    <a:pt x="2633" y="1161"/>
                  </a:cubicBezTo>
                  <a:cubicBezTo>
                    <a:pt x="2663" y="1167"/>
                    <a:pt x="2663" y="1167"/>
                    <a:pt x="2663" y="1167"/>
                  </a:cubicBezTo>
                  <a:cubicBezTo>
                    <a:pt x="2663" y="1167"/>
                    <a:pt x="2686" y="1194"/>
                    <a:pt x="2692" y="1200"/>
                  </a:cubicBezTo>
                  <a:close/>
                  <a:moveTo>
                    <a:pt x="1160" y="1542"/>
                  </a:moveTo>
                  <a:cubicBezTo>
                    <a:pt x="1173" y="1542"/>
                    <a:pt x="1163" y="1551"/>
                    <a:pt x="1173" y="1561"/>
                  </a:cubicBezTo>
                  <a:cubicBezTo>
                    <a:pt x="1184" y="1571"/>
                    <a:pt x="1204" y="1562"/>
                    <a:pt x="1204" y="1562"/>
                  </a:cubicBezTo>
                  <a:cubicBezTo>
                    <a:pt x="1204" y="1562"/>
                    <a:pt x="1200" y="1543"/>
                    <a:pt x="1187" y="1526"/>
                  </a:cubicBezTo>
                  <a:cubicBezTo>
                    <a:pt x="1173" y="1508"/>
                    <a:pt x="1148" y="1521"/>
                    <a:pt x="1148" y="1521"/>
                  </a:cubicBezTo>
                  <a:cubicBezTo>
                    <a:pt x="1125" y="1514"/>
                    <a:pt x="1125" y="1514"/>
                    <a:pt x="1125" y="1514"/>
                  </a:cubicBezTo>
                  <a:cubicBezTo>
                    <a:pt x="1118" y="1520"/>
                    <a:pt x="1119" y="1521"/>
                    <a:pt x="1129" y="1537"/>
                  </a:cubicBezTo>
                  <a:cubicBezTo>
                    <a:pt x="1140" y="1553"/>
                    <a:pt x="1147" y="1542"/>
                    <a:pt x="1160" y="1542"/>
                  </a:cubicBezTo>
                  <a:close/>
                  <a:moveTo>
                    <a:pt x="1487" y="1427"/>
                  </a:moveTo>
                  <a:cubicBezTo>
                    <a:pt x="1449" y="1417"/>
                    <a:pt x="1449" y="1417"/>
                    <a:pt x="1449" y="1417"/>
                  </a:cubicBezTo>
                  <a:cubicBezTo>
                    <a:pt x="1437" y="1439"/>
                    <a:pt x="1437" y="1439"/>
                    <a:pt x="1437" y="1439"/>
                  </a:cubicBezTo>
                  <a:lnTo>
                    <a:pt x="1487" y="1427"/>
                  </a:lnTo>
                  <a:close/>
                  <a:moveTo>
                    <a:pt x="1918" y="1052"/>
                  </a:moveTo>
                  <a:cubicBezTo>
                    <a:pt x="1937" y="1061"/>
                    <a:pt x="1945" y="1052"/>
                    <a:pt x="1930" y="1045"/>
                  </a:cubicBezTo>
                  <a:cubicBezTo>
                    <a:pt x="1916" y="1039"/>
                    <a:pt x="1910" y="1048"/>
                    <a:pt x="1918" y="1052"/>
                  </a:cubicBezTo>
                  <a:close/>
                  <a:moveTo>
                    <a:pt x="1950" y="1112"/>
                  </a:moveTo>
                  <a:cubicBezTo>
                    <a:pt x="1959" y="1112"/>
                    <a:pt x="1986" y="1105"/>
                    <a:pt x="1986" y="1105"/>
                  </a:cubicBezTo>
                  <a:cubicBezTo>
                    <a:pt x="1986" y="1105"/>
                    <a:pt x="1962" y="1095"/>
                    <a:pt x="1957" y="1094"/>
                  </a:cubicBezTo>
                  <a:cubicBezTo>
                    <a:pt x="1953" y="1093"/>
                    <a:pt x="1924" y="1099"/>
                    <a:pt x="1924" y="1099"/>
                  </a:cubicBezTo>
                  <a:cubicBezTo>
                    <a:pt x="1924" y="1099"/>
                    <a:pt x="1940" y="1112"/>
                    <a:pt x="1950" y="1112"/>
                  </a:cubicBezTo>
                  <a:close/>
                  <a:moveTo>
                    <a:pt x="1215" y="1321"/>
                  </a:moveTo>
                  <a:cubicBezTo>
                    <a:pt x="1196" y="1355"/>
                    <a:pt x="1196" y="1355"/>
                    <a:pt x="1196" y="1355"/>
                  </a:cubicBezTo>
                  <a:cubicBezTo>
                    <a:pt x="1210" y="1354"/>
                    <a:pt x="1210" y="1354"/>
                    <a:pt x="1210" y="1354"/>
                  </a:cubicBezTo>
                  <a:cubicBezTo>
                    <a:pt x="1218" y="1336"/>
                    <a:pt x="1218" y="1336"/>
                    <a:pt x="1218" y="1336"/>
                  </a:cubicBezTo>
                  <a:lnTo>
                    <a:pt x="1215" y="1321"/>
                  </a:lnTo>
                  <a:close/>
                  <a:moveTo>
                    <a:pt x="1056" y="1473"/>
                  </a:moveTo>
                  <a:cubicBezTo>
                    <a:pt x="1056" y="1473"/>
                    <a:pt x="1042" y="1458"/>
                    <a:pt x="1034" y="1460"/>
                  </a:cubicBezTo>
                  <a:cubicBezTo>
                    <a:pt x="1025" y="1461"/>
                    <a:pt x="1006" y="1490"/>
                    <a:pt x="1006" y="1490"/>
                  </a:cubicBezTo>
                  <a:cubicBezTo>
                    <a:pt x="1041" y="1495"/>
                    <a:pt x="1041" y="1495"/>
                    <a:pt x="1041" y="1495"/>
                  </a:cubicBezTo>
                  <a:cubicBezTo>
                    <a:pt x="1042" y="1509"/>
                    <a:pt x="1042" y="1509"/>
                    <a:pt x="1042" y="1509"/>
                  </a:cubicBezTo>
                  <a:cubicBezTo>
                    <a:pt x="1057" y="1507"/>
                    <a:pt x="1057" y="1507"/>
                    <a:pt x="1057" y="1507"/>
                  </a:cubicBezTo>
                  <a:cubicBezTo>
                    <a:pt x="1063" y="1493"/>
                    <a:pt x="1063" y="1493"/>
                    <a:pt x="1063" y="1493"/>
                  </a:cubicBezTo>
                  <a:cubicBezTo>
                    <a:pt x="1082" y="1504"/>
                    <a:pt x="1082" y="1504"/>
                    <a:pt x="1082" y="1504"/>
                  </a:cubicBezTo>
                  <a:cubicBezTo>
                    <a:pt x="1101" y="1482"/>
                    <a:pt x="1101" y="1482"/>
                    <a:pt x="1101" y="1482"/>
                  </a:cubicBezTo>
                  <a:cubicBezTo>
                    <a:pt x="1067" y="1470"/>
                    <a:pt x="1067" y="1470"/>
                    <a:pt x="1067" y="1470"/>
                  </a:cubicBezTo>
                  <a:lnTo>
                    <a:pt x="1056" y="1473"/>
                  </a:lnTo>
                  <a:close/>
                  <a:moveTo>
                    <a:pt x="1344" y="1273"/>
                  </a:moveTo>
                  <a:cubicBezTo>
                    <a:pt x="1345" y="1257"/>
                    <a:pt x="1341" y="1245"/>
                    <a:pt x="1341" y="1245"/>
                  </a:cubicBezTo>
                  <a:cubicBezTo>
                    <a:pt x="1341" y="1245"/>
                    <a:pt x="1301" y="1213"/>
                    <a:pt x="1303" y="1201"/>
                  </a:cubicBezTo>
                  <a:cubicBezTo>
                    <a:pt x="1305" y="1189"/>
                    <a:pt x="1324" y="1176"/>
                    <a:pt x="1313" y="1166"/>
                  </a:cubicBezTo>
                  <a:cubicBezTo>
                    <a:pt x="1301" y="1156"/>
                    <a:pt x="1292" y="1153"/>
                    <a:pt x="1291" y="1145"/>
                  </a:cubicBezTo>
                  <a:cubicBezTo>
                    <a:pt x="1291" y="1136"/>
                    <a:pt x="1304" y="1117"/>
                    <a:pt x="1290" y="1111"/>
                  </a:cubicBezTo>
                  <a:cubicBezTo>
                    <a:pt x="1277" y="1106"/>
                    <a:pt x="1257" y="1089"/>
                    <a:pt x="1257" y="1089"/>
                  </a:cubicBezTo>
                  <a:cubicBezTo>
                    <a:pt x="1257" y="1089"/>
                    <a:pt x="1279" y="1094"/>
                    <a:pt x="1289" y="1084"/>
                  </a:cubicBezTo>
                  <a:cubicBezTo>
                    <a:pt x="1298" y="1075"/>
                    <a:pt x="1308" y="1053"/>
                    <a:pt x="1308" y="1053"/>
                  </a:cubicBezTo>
                  <a:cubicBezTo>
                    <a:pt x="1308" y="1053"/>
                    <a:pt x="1347" y="1055"/>
                    <a:pt x="1348" y="1047"/>
                  </a:cubicBezTo>
                  <a:cubicBezTo>
                    <a:pt x="1349" y="1038"/>
                    <a:pt x="1338" y="1023"/>
                    <a:pt x="1328" y="1022"/>
                  </a:cubicBezTo>
                  <a:cubicBezTo>
                    <a:pt x="1317" y="1022"/>
                    <a:pt x="1310" y="1040"/>
                    <a:pt x="1310" y="1040"/>
                  </a:cubicBezTo>
                  <a:cubicBezTo>
                    <a:pt x="1310" y="1040"/>
                    <a:pt x="1281" y="1032"/>
                    <a:pt x="1269" y="1036"/>
                  </a:cubicBezTo>
                  <a:cubicBezTo>
                    <a:pt x="1258" y="1039"/>
                    <a:pt x="1252" y="1068"/>
                    <a:pt x="1240" y="1069"/>
                  </a:cubicBezTo>
                  <a:cubicBezTo>
                    <a:pt x="1229" y="1069"/>
                    <a:pt x="1230" y="1049"/>
                    <a:pt x="1213" y="1039"/>
                  </a:cubicBezTo>
                  <a:cubicBezTo>
                    <a:pt x="1196" y="1029"/>
                    <a:pt x="1188" y="1032"/>
                    <a:pt x="1188" y="1032"/>
                  </a:cubicBezTo>
                  <a:cubicBezTo>
                    <a:pt x="1188" y="1032"/>
                    <a:pt x="1193" y="973"/>
                    <a:pt x="1209" y="972"/>
                  </a:cubicBezTo>
                  <a:cubicBezTo>
                    <a:pt x="1225" y="971"/>
                    <a:pt x="1255" y="982"/>
                    <a:pt x="1269" y="978"/>
                  </a:cubicBezTo>
                  <a:cubicBezTo>
                    <a:pt x="1282" y="975"/>
                    <a:pt x="1273" y="963"/>
                    <a:pt x="1284" y="965"/>
                  </a:cubicBezTo>
                  <a:cubicBezTo>
                    <a:pt x="1296" y="966"/>
                    <a:pt x="1349" y="992"/>
                    <a:pt x="1359" y="993"/>
                  </a:cubicBezTo>
                  <a:cubicBezTo>
                    <a:pt x="1370" y="993"/>
                    <a:pt x="1372" y="984"/>
                    <a:pt x="1379" y="980"/>
                  </a:cubicBezTo>
                  <a:cubicBezTo>
                    <a:pt x="1386" y="976"/>
                    <a:pt x="1399" y="982"/>
                    <a:pt x="1408" y="977"/>
                  </a:cubicBezTo>
                  <a:cubicBezTo>
                    <a:pt x="1417" y="971"/>
                    <a:pt x="1406" y="966"/>
                    <a:pt x="1415" y="957"/>
                  </a:cubicBezTo>
                  <a:cubicBezTo>
                    <a:pt x="1423" y="948"/>
                    <a:pt x="1443" y="939"/>
                    <a:pt x="1443" y="939"/>
                  </a:cubicBezTo>
                  <a:cubicBezTo>
                    <a:pt x="1436" y="919"/>
                    <a:pt x="1436" y="919"/>
                    <a:pt x="1436" y="919"/>
                  </a:cubicBezTo>
                  <a:cubicBezTo>
                    <a:pt x="1384" y="941"/>
                    <a:pt x="1384" y="941"/>
                    <a:pt x="1384" y="941"/>
                  </a:cubicBezTo>
                  <a:cubicBezTo>
                    <a:pt x="1384" y="941"/>
                    <a:pt x="1396" y="954"/>
                    <a:pt x="1381" y="955"/>
                  </a:cubicBezTo>
                  <a:cubicBezTo>
                    <a:pt x="1366" y="956"/>
                    <a:pt x="1353" y="947"/>
                    <a:pt x="1344" y="947"/>
                  </a:cubicBezTo>
                  <a:cubicBezTo>
                    <a:pt x="1336" y="947"/>
                    <a:pt x="1321" y="960"/>
                    <a:pt x="1311" y="958"/>
                  </a:cubicBezTo>
                  <a:cubicBezTo>
                    <a:pt x="1300" y="955"/>
                    <a:pt x="1275" y="943"/>
                    <a:pt x="1268" y="943"/>
                  </a:cubicBezTo>
                  <a:cubicBezTo>
                    <a:pt x="1261" y="943"/>
                    <a:pt x="1245" y="943"/>
                    <a:pt x="1245" y="943"/>
                  </a:cubicBezTo>
                  <a:cubicBezTo>
                    <a:pt x="1253" y="931"/>
                    <a:pt x="1253" y="931"/>
                    <a:pt x="1253" y="931"/>
                  </a:cubicBezTo>
                  <a:cubicBezTo>
                    <a:pt x="1253" y="931"/>
                    <a:pt x="1226" y="924"/>
                    <a:pt x="1223" y="927"/>
                  </a:cubicBezTo>
                  <a:cubicBezTo>
                    <a:pt x="1219" y="931"/>
                    <a:pt x="1224" y="948"/>
                    <a:pt x="1212" y="955"/>
                  </a:cubicBezTo>
                  <a:cubicBezTo>
                    <a:pt x="1201" y="962"/>
                    <a:pt x="1179" y="960"/>
                    <a:pt x="1179" y="966"/>
                  </a:cubicBezTo>
                  <a:cubicBezTo>
                    <a:pt x="1179" y="972"/>
                    <a:pt x="1178" y="986"/>
                    <a:pt x="1178" y="986"/>
                  </a:cubicBezTo>
                  <a:cubicBezTo>
                    <a:pt x="1164" y="988"/>
                    <a:pt x="1164" y="988"/>
                    <a:pt x="1164" y="988"/>
                  </a:cubicBezTo>
                  <a:cubicBezTo>
                    <a:pt x="1174" y="1035"/>
                    <a:pt x="1174" y="1035"/>
                    <a:pt x="1174" y="1035"/>
                  </a:cubicBezTo>
                  <a:cubicBezTo>
                    <a:pt x="1164" y="1034"/>
                    <a:pt x="1164" y="1034"/>
                    <a:pt x="1164" y="1034"/>
                  </a:cubicBezTo>
                  <a:cubicBezTo>
                    <a:pt x="1164" y="1034"/>
                    <a:pt x="1147" y="1059"/>
                    <a:pt x="1145" y="1069"/>
                  </a:cubicBezTo>
                  <a:cubicBezTo>
                    <a:pt x="1142" y="1079"/>
                    <a:pt x="1161" y="1099"/>
                    <a:pt x="1153" y="1108"/>
                  </a:cubicBezTo>
                  <a:cubicBezTo>
                    <a:pt x="1145" y="1117"/>
                    <a:pt x="1122" y="1123"/>
                    <a:pt x="1120" y="1136"/>
                  </a:cubicBezTo>
                  <a:cubicBezTo>
                    <a:pt x="1119" y="1150"/>
                    <a:pt x="1130" y="1163"/>
                    <a:pt x="1130" y="1163"/>
                  </a:cubicBezTo>
                  <a:cubicBezTo>
                    <a:pt x="1130" y="1163"/>
                    <a:pt x="1114" y="1177"/>
                    <a:pt x="1124" y="1184"/>
                  </a:cubicBezTo>
                  <a:cubicBezTo>
                    <a:pt x="1135" y="1191"/>
                    <a:pt x="1153" y="1176"/>
                    <a:pt x="1157" y="1188"/>
                  </a:cubicBezTo>
                  <a:cubicBezTo>
                    <a:pt x="1161" y="1200"/>
                    <a:pt x="1153" y="1209"/>
                    <a:pt x="1153" y="1209"/>
                  </a:cubicBezTo>
                  <a:cubicBezTo>
                    <a:pt x="1164" y="1223"/>
                    <a:pt x="1164" y="1223"/>
                    <a:pt x="1164" y="1223"/>
                  </a:cubicBezTo>
                  <a:cubicBezTo>
                    <a:pt x="1158" y="1267"/>
                    <a:pt x="1158" y="1267"/>
                    <a:pt x="1158" y="1267"/>
                  </a:cubicBezTo>
                  <a:cubicBezTo>
                    <a:pt x="1158" y="1267"/>
                    <a:pt x="1134" y="1281"/>
                    <a:pt x="1146" y="1305"/>
                  </a:cubicBezTo>
                  <a:cubicBezTo>
                    <a:pt x="1157" y="1329"/>
                    <a:pt x="1173" y="1329"/>
                    <a:pt x="1191" y="1311"/>
                  </a:cubicBezTo>
                  <a:cubicBezTo>
                    <a:pt x="1208" y="1294"/>
                    <a:pt x="1188" y="1265"/>
                    <a:pt x="1188" y="1265"/>
                  </a:cubicBezTo>
                  <a:cubicBezTo>
                    <a:pt x="1188" y="1265"/>
                    <a:pt x="1209" y="1250"/>
                    <a:pt x="1209" y="1229"/>
                  </a:cubicBezTo>
                  <a:cubicBezTo>
                    <a:pt x="1208" y="1207"/>
                    <a:pt x="1217" y="1188"/>
                    <a:pt x="1210" y="1175"/>
                  </a:cubicBezTo>
                  <a:cubicBezTo>
                    <a:pt x="1202" y="1163"/>
                    <a:pt x="1198" y="1138"/>
                    <a:pt x="1200" y="1133"/>
                  </a:cubicBezTo>
                  <a:cubicBezTo>
                    <a:pt x="1201" y="1128"/>
                    <a:pt x="1207" y="1100"/>
                    <a:pt x="1217" y="1118"/>
                  </a:cubicBezTo>
                  <a:cubicBezTo>
                    <a:pt x="1228" y="1136"/>
                    <a:pt x="1228" y="1167"/>
                    <a:pt x="1228" y="1167"/>
                  </a:cubicBezTo>
                  <a:cubicBezTo>
                    <a:pt x="1251" y="1193"/>
                    <a:pt x="1251" y="1193"/>
                    <a:pt x="1251" y="1193"/>
                  </a:cubicBezTo>
                  <a:cubicBezTo>
                    <a:pt x="1248" y="1228"/>
                    <a:pt x="1248" y="1228"/>
                    <a:pt x="1248" y="1228"/>
                  </a:cubicBezTo>
                  <a:cubicBezTo>
                    <a:pt x="1265" y="1250"/>
                    <a:pt x="1265" y="1250"/>
                    <a:pt x="1265" y="1250"/>
                  </a:cubicBezTo>
                  <a:cubicBezTo>
                    <a:pt x="1266" y="1274"/>
                    <a:pt x="1266" y="1274"/>
                    <a:pt x="1266" y="1274"/>
                  </a:cubicBezTo>
                  <a:cubicBezTo>
                    <a:pt x="1275" y="1323"/>
                    <a:pt x="1275" y="1323"/>
                    <a:pt x="1275" y="1323"/>
                  </a:cubicBezTo>
                  <a:cubicBezTo>
                    <a:pt x="1285" y="1313"/>
                    <a:pt x="1285" y="1313"/>
                    <a:pt x="1285" y="1313"/>
                  </a:cubicBezTo>
                  <a:cubicBezTo>
                    <a:pt x="1312" y="1321"/>
                    <a:pt x="1312" y="1321"/>
                    <a:pt x="1312" y="1321"/>
                  </a:cubicBezTo>
                  <a:cubicBezTo>
                    <a:pt x="1312" y="1321"/>
                    <a:pt x="1314" y="1304"/>
                    <a:pt x="1313" y="1291"/>
                  </a:cubicBezTo>
                  <a:cubicBezTo>
                    <a:pt x="1312" y="1278"/>
                    <a:pt x="1319" y="1271"/>
                    <a:pt x="1319" y="1271"/>
                  </a:cubicBezTo>
                  <a:cubicBezTo>
                    <a:pt x="1325" y="1287"/>
                    <a:pt x="1325" y="1287"/>
                    <a:pt x="1325" y="1287"/>
                  </a:cubicBezTo>
                  <a:cubicBezTo>
                    <a:pt x="1325" y="1287"/>
                    <a:pt x="1342" y="1289"/>
                    <a:pt x="1344" y="1273"/>
                  </a:cubicBezTo>
                  <a:close/>
                  <a:moveTo>
                    <a:pt x="1214" y="1480"/>
                  </a:moveTo>
                  <a:cubicBezTo>
                    <a:pt x="1276" y="1479"/>
                    <a:pt x="1276" y="1479"/>
                    <a:pt x="1276" y="1479"/>
                  </a:cubicBezTo>
                  <a:cubicBezTo>
                    <a:pt x="1308" y="1474"/>
                    <a:pt x="1308" y="1474"/>
                    <a:pt x="1308" y="1474"/>
                  </a:cubicBezTo>
                  <a:cubicBezTo>
                    <a:pt x="1334" y="1451"/>
                    <a:pt x="1334" y="1451"/>
                    <a:pt x="1334" y="1451"/>
                  </a:cubicBezTo>
                  <a:cubicBezTo>
                    <a:pt x="1333" y="1441"/>
                    <a:pt x="1333" y="1441"/>
                    <a:pt x="1333" y="1441"/>
                  </a:cubicBezTo>
                  <a:cubicBezTo>
                    <a:pt x="1312" y="1450"/>
                    <a:pt x="1312" y="1450"/>
                    <a:pt x="1312" y="1450"/>
                  </a:cubicBezTo>
                  <a:cubicBezTo>
                    <a:pt x="1293" y="1466"/>
                    <a:pt x="1293" y="1466"/>
                    <a:pt x="1293" y="1466"/>
                  </a:cubicBezTo>
                  <a:cubicBezTo>
                    <a:pt x="1293" y="1466"/>
                    <a:pt x="1282" y="1454"/>
                    <a:pt x="1271" y="1455"/>
                  </a:cubicBezTo>
                  <a:cubicBezTo>
                    <a:pt x="1261" y="1457"/>
                    <a:pt x="1249" y="1470"/>
                    <a:pt x="1249" y="1470"/>
                  </a:cubicBezTo>
                  <a:cubicBezTo>
                    <a:pt x="1249" y="1470"/>
                    <a:pt x="1239" y="1444"/>
                    <a:pt x="1221" y="1447"/>
                  </a:cubicBezTo>
                  <a:cubicBezTo>
                    <a:pt x="1204" y="1450"/>
                    <a:pt x="1182" y="1476"/>
                    <a:pt x="1182" y="1476"/>
                  </a:cubicBezTo>
                  <a:cubicBezTo>
                    <a:pt x="1158" y="1474"/>
                    <a:pt x="1158" y="1474"/>
                    <a:pt x="1158" y="1474"/>
                  </a:cubicBezTo>
                  <a:cubicBezTo>
                    <a:pt x="1151" y="1486"/>
                    <a:pt x="1151" y="1486"/>
                    <a:pt x="1151" y="1486"/>
                  </a:cubicBezTo>
                  <a:cubicBezTo>
                    <a:pt x="1167" y="1483"/>
                    <a:pt x="1167" y="1483"/>
                    <a:pt x="1167" y="1483"/>
                  </a:cubicBezTo>
                  <a:cubicBezTo>
                    <a:pt x="1167" y="1483"/>
                    <a:pt x="1179" y="1489"/>
                    <a:pt x="1191" y="1494"/>
                  </a:cubicBezTo>
                  <a:cubicBezTo>
                    <a:pt x="1202" y="1498"/>
                    <a:pt x="1214" y="1480"/>
                    <a:pt x="1214" y="1480"/>
                  </a:cubicBezTo>
                  <a:close/>
                  <a:moveTo>
                    <a:pt x="1398" y="1093"/>
                  </a:moveTo>
                  <a:cubicBezTo>
                    <a:pt x="1392" y="1096"/>
                    <a:pt x="1389" y="1105"/>
                    <a:pt x="1389" y="1105"/>
                  </a:cubicBezTo>
                  <a:cubicBezTo>
                    <a:pt x="1396" y="1119"/>
                    <a:pt x="1427" y="1114"/>
                    <a:pt x="1427" y="1114"/>
                  </a:cubicBezTo>
                  <a:cubicBezTo>
                    <a:pt x="1480" y="1104"/>
                    <a:pt x="1480" y="1104"/>
                    <a:pt x="1480" y="1104"/>
                  </a:cubicBezTo>
                  <a:cubicBezTo>
                    <a:pt x="1427" y="1102"/>
                    <a:pt x="1427" y="1102"/>
                    <a:pt x="1427" y="1102"/>
                  </a:cubicBezTo>
                  <a:cubicBezTo>
                    <a:pt x="1427" y="1102"/>
                    <a:pt x="1405" y="1090"/>
                    <a:pt x="1398" y="1093"/>
                  </a:cubicBezTo>
                  <a:close/>
                  <a:moveTo>
                    <a:pt x="1543" y="992"/>
                  </a:moveTo>
                  <a:cubicBezTo>
                    <a:pt x="1546" y="1001"/>
                    <a:pt x="1535" y="1009"/>
                    <a:pt x="1543" y="1017"/>
                  </a:cubicBezTo>
                  <a:cubicBezTo>
                    <a:pt x="1552" y="1024"/>
                    <a:pt x="1590" y="1058"/>
                    <a:pt x="1599" y="1055"/>
                  </a:cubicBezTo>
                  <a:cubicBezTo>
                    <a:pt x="1608" y="1052"/>
                    <a:pt x="1598" y="1039"/>
                    <a:pt x="1587" y="1033"/>
                  </a:cubicBezTo>
                  <a:cubicBezTo>
                    <a:pt x="1577" y="1027"/>
                    <a:pt x="1571" y="1015"/>
                    <a:pt x="1581" y="1005"/>
                  </a:cubicBezTo>
                  <a:cubicBezTo>
                    <a:pt x="1592" y="995"/>
                    <a:pt x="1611" y="1005"/>
                    <a:pt x="1611" y="1005"/>
                  </a:cubicBezTo>
                  <a:cubicBezTo>
                    <a:pt x="1620" y="998"/>
                    <a:pt x="1620" y="998"/>
                    <a:pt x="1620" y="998"/>
                  </a:cubicBezTo>
                  <a:cubicBezTo>
                    <a:pt x="1603" y="987"/>
                    <a:pt x="1603" y="987"/>
                    <a:pt x="1603" y="987"/>
                  </a:cubicBezTo>
                  <a:cubicBezTo>
                    <a:pt x="1603" y="987"/>
                    <a:pt x="1617" y="980"/>
                    <a:pt x="1620" y="968"/>
                  </a:cubicBezTo>
                  <a:cubicBezTo>
                    <a:pt x="1623" y="957"/>
                    <a:pt x="1608" y="949"/>
                    <a:pt x="1598" y="948"/>
                  </a:cubicBezTo>
                  <a:cubicBezTo>
                    <a:pt x="1587" y="946"/>
                    <a:pt x="1577" y="973"/>
                    <a:pt x="1565" y="974"/>
                  </a:cubicBezTo>
                  <a:cubicBezTo>
                    <a:pt x="1554" y="976"/>
                    <a:pt x="1557" y="949"/>
                    <a:pt x="1557" y="949"/>
                  </a:cubicBezTo>
                  <a:cubicBezTo>
                    <a:pt x="1557" y="949"/>
                    <a:pt x="1567" y="936"/>
                    <a:pt x="1570" y="926"/>
                  </a:cubicBezTo>
                  <a:cubicBezTo>
                    <a:pt x="1573" y="915"/>
                    <a:pt x="1567" y="910"/>
                    <a:pt x="1567" y="910"/>
                  </a:cubicBezTo>
                  <a:cubicBezTo>
                    <a:pt x="1576" y="883"/>
                    <a:pt x="1576" y="883"/>
                    <a:pt x="1576" y="883"/>
                  </a:cubicBezTo>
                  <a:cubicBezTo>
                    <a:pt x="1548" y="910"/>
                    <a:pt x="1548" y="910"/>
                    <a:pt x="1548" y="910"/>
                  </a:cubicBezTo>
                  <a:cubicBezTo>
                    <a:pt x="1548" y="929"/>
                    <a:pt x="1548" y="929"/>
                    <a:pt x="1548" y="929"/>
                  </a:cubicBezTo>
                  <a:cubicBezTo>
                    <a:pt x="1548" y="929"/>
                    <a:pt x="1525" y="939"/>
                    <a:pt x="1527" y="964"/>
                  </a:cubicBezTo>
                  <a:cubicBezTo>
                    <a:pt x="1529" y="980"/>
                    <a:pt x="1540" y="983"/>
                    <a:pt x="1543" y="992"/>
                  </a:cubicBezTo>
                  <a:close/>
                  <a:moveTo>
                    <a:pt x="1609" y="893"/>
                  </a:moveTo>
                  <a:cubicBezTo>
                    <a:pt x="1624" y="881"/>
                    <a:pt x="1618" y="874"/>
                    <a:pt x="1605" y="870"/>
                  </a:cubicBezTo>
                  <a:cubicBezTo>
                    <a:pt x="1592" y="866"/>
                    <a:pt x="1586" y="871"/>
                    <a:pt x="1586" y="871"/>
                  </a:cubicBezTo>
                  <a:cubicBezTo>
                    <a:pt x="1586" y="871"/>
                    <a:pt x="1601" y="901"/>
                    <a:pt x="1609" y="893"/>
                  </a:cubicBezTo>
                  <a:close/>
                  <a:moveTo>
                    <a:pt x="1652" y="1137"/>
                  </a:moveTo>
                  <a:cubicBezTo>
                    <a:pt x="1674" y="1128"/>
                    <a:pt x="1672" y="1112"/>
                    <a:pt x="1672" y="1112"/>
                  </a:cubicBezTo>
                  <a:cubicBezTo>
                    <a:pt x="1627" y="1111"/>
                    <a:pt x="1627" y="1111"/>
                    <a:pt x="1627" y="1111"/>
                  </a:cubicBezTo>
                  <a:cubicBezTo>
                    <a:pt x="1627" y="1111"/>
                    <a:pt x="1630" y="1146"/>
                    <a:pt x="1652" y="1137"/>
                  </a:cubicBezTo>
                  <a:close/>
                  <a:moveTo>
                    <a:pt x="1132" y="1474"/>
                  </a:moveTo>
                  <a:cubicBezTo>
                    <a:pt x="1137" y="1457"/>
                    <a:pt x="1136" y="1445"/>
                    <a:pt x="1127" y="1442"/>
                  </a:cubicBezTo>
                  <a:cubicBezTo>
                    <a:pt x="1118" y="1439"/>
                    <a:pt x="1111" y="1445"/>
                    <a:pt x="1111" y="1445"/>
                  </a:cubicBezTo>
                  <a:cubicBezTo>
                    <a:pt x="1080" y="1438"/>
                    <a:pt x="1080" y="1438"/>
                    <a:pt x="1080" y="1438"/>
                  </a:cubicBezTo>
                  <a:cubicBezTo>
                    <a:pt x="1099" y="1465"/>
                    <a:pt x="1099" y="1465"/>
                    <a:pt x="1099" y="1465"/>
                  </a:cubicBezTo>
                  <a:cubicBezTo>
                    <a:pt x="1099" y="1465"/>
                    <a:pt x="1126" y="1492"/>
                    <a:pt x="1132" y="1474"/>
                  </a:cubicBezTo>
                  <a:close/>
                  <a:moveTo>
                    <a:pt x="1634" y="1147"/>
                  </a:moveTo>
                  <a:cubicBezTo>
                    <a:pt x="1618" y="1143"/>
                    <a:pt x="1608" y="1153"/>
                    <a:pt x="1597" y="1158"/>
                  </a:cubicBezTo>
                  <a:cubicBezTo>
                    <a:pt x="1591" y="1160"/>
                    <a:pt x="1583" y="1156"/>
                    <a:pt x="1579" y="1159"/>
                  </a:cubicBezTo>
                  <a:cubicBezTo>
                    <a:pt x="1566" y="1167"/>
                    <a:pt x="1562" y="1183"/>
                    <a:pt x="1566" y="1186"/>
                  </a:cubicBezTo>
                  <a:cubicBezTo>
                    <a:pt x="1573" y="1192"/>
                    <a:pt x="1580" y="1178"/>
                    <a:pt x="1580" y="1178"/>
                  </a:cubicBezTo>
                  <a:cubicBezTo>
                    <a:pt x="1580" y="1178"/>
                    <a:pt x="1580" y="1194"/>
                    <a:pt x="1591" y="1196"/>
                  </a:cubicBezTo>
                  <a:cubicBezTo>
                    <a:pt x="1602" y="1197"/>
                    <a:pt x="1604" y="1177"/>
                    <a:pt x="1604" y="1177"/>
                  </a:cubicBezTo>
                  <a:cubicBezTo>
                    <a:pt x="1604" y="1177"/>
                    <a:pt x="1612" y="1188"/>
                    <a:pt x="1619" y="1188"/>
                  </a:cubicBezTo>
                  <a:cubicBezTo>
                    <a:pt x="1626" y="1188"/>
                    <a:pt x="1644" y="1173"/>
                    <a:pt x="1644" y="1173"/>
                  </a:cubicBezTo>
                  <a:cubicBezTo>
                    <a:pt x="1654" y="1208"/>
                    <a:pt x="1654" y="1208"/>
                    <a:pt x="1654" y="1208"/>
                  </a:cubicBezTo>
                  <a:cubicBezTo>
                    <a:pt x="1673" y="1194"/>
                    <a:pt x="1673" y="1194"/>
                    <a:pt x="1673" y="1194"/>
                  </a:cubicBezTo>
                  <a:cubicBezTo>
                    <a:pt x="1695" y="1218"/>
                    <a:pt x="1695" y="1218"/>
                    <a:pt x="1695" y="1218"/>
                  </a:cubicBezTo>
                  <a:cubicBezTo>
                    <a:pt x="1700" y="1201"/>
                    <a:pt x="1700" y="1201"/>
                    <a:pt x="1700" y="1201"/>
                  </a:cubicBezTo>
                  <a:cubicBezTo>
                    <a:pt x="1686" y="1189"/>
                    <a:pt x="1686" y="1189"/>
                    <a:pt x="1686" y="1189"/>
                  </a:cubicBezTo>
                  <a:cubicBezTo>
                    <a:pt x="1687" y="1178"/>
                    <a:pt x="1687" y="1178"/>
                    <a:pt x="1687" y="1178"/>
                  </a:cubicBezTo>
                  <a:cubicBezTo>
                    <a:pt x="1687" y="1178"/>
                    <a:pt x="1681" y="1157"/>
                    <a:pt x="1634" y="1147"/>
                  </a:cubicBezTo>
                  <a:close/>
                  <a:moveTo>
                    <a:pt x="1721" y="1027"/>
                  </a:moveTo>
                  <a:cubicBezTo>
                    <a:pt x="1721" y="1027"/>
                    <a:pt x="1725" y="1015"/>
                    <a:pt x="1708" y="1013"/>
                  </a:cubicBezTo>
                  <a:cubicBezTo>
                    <a:pt x="1691" y="1010"/>
                    <a:pt x="1680" y="1015"/>
                    <a:pt x="1680" y="1015"/>
                  </a:cubicBezTo>
                  <a:cubicBezTo>
                    <a:pt x="1684" y="1033"/>
                    <a:pt x="1684" y="1033"/>
                    <a:pt x="1684" y="1033"/>
                  </a:cubicBezTo>
                  <a:cubicBezTo>
                    <a:pt x="1693" y="1032"/>
                    <a:pt x="1721" y="1027"/>
                    <a:pt x="1721" y="1027"/>
                  </a:cubicBezTo>
                  <a:close/>
                  <a:moveTo>
                    <a:pt x="1701" y="1444"/>
                  </a:moveTo>
                  <a:cubicBezTo>
                    <a:pt x="1720" y="1429"/>
                    <a:pt x="1720" y="1429"/>
                    <a:pt x="1720" y="1429"/>
                  </a:cubicBezTo>
                  <a:cubicBezTo>
                    <a:pt x="1720" y="1429"/>
                    <a:pt x="1742" y="1437"/>
                    <a:pt x="1742" y="1415"/>
                  </a:cubicBezTo>
                  <a:cubicBezTo>
                    <a:pt x="1742" y="1393"/>
                    <a:pt x="1691" y="1419"/>
                    <a:pt x="1691" y="1438"/>
                  </a:cubicBezTo>
                  <a:lnTo>
                    <a:pt x="1701" y="1444"/>
                  </a:lnTo>
                  <a:close/>
                  <a:moveTo>
                    <a:pt x="1569" y="1092"/>
                  </a:moveTo>
                  <a:cubicBezTo>
                    <a:pt x="1561" y="1082"/>
                    <a:pt x="1542" y="1069"/>
                    <a:pt x="1542" y="1069"/>
                  </a:cubicBezTo>
                  <a:cubicBezTo>
                    <a:pt x="1540" y="1099"/>
                    <a:pt x="1540" y="1099"/>
                    <a:pt x="1540" y="1099"/>
                  </a:cubicBezTo>
                  <a:cubicBezTo>
                    <a:pt x="1552" y="1107"/>
                    <a:pt x="1578" y="1103"/>
                    <a:pt x="1569" y="1092"/>
                  </a:cubicBezTo>
                  <a:close/>
                  <a:moveTo>
                    <a:pt x="327" y="899"/>
                  </a:moveTo>
                  <a:cubicBezTo>
                    <a:pt x="315" y="889"/>
                    <a:pt x="304" y="895"/>
                    <a:pt x="310" y="911"/>
                  </a:cubicBezTo>
                  <a:cubicBezTo>
                    <a:pt x="314" y="925"/>
                    <a:pt x="339" y="908"/>
                    <a:pt x="327" y="899"/>
                  </a:cubicBezTo>
                  <a:close/>
                  <a:moveTo>
                    <a:pt x="455" y="1030"/>
                  </a:moveTo>
                  <a:cubicBezTo>
                    <a:pt x="441" y="1043"/>
                    <a:pt x="441" y="1043"/>
                    <a:pt x="441" y="1043"/>
                  </a:cubicBezTo>
                  <a:cubicBezTo>
                    <a:pt x="458" y="1064"/>
                    <a:pt x="458" y="1064"/>
                    <a:pt x="458" y="1064"/>
                  </a:cubicBezTo>
                  <a:lnTo>
                    <a:pt x="455" y="1030"/>
                  </a:lnTo>
                  <a:close/>
                  <a:moveTo>
                    <a:pt x="169" y="995"/>
                  </a:moveTo>
                  <a:cubicBezTo>
                    <a:pt x="154" y="1009"/>
                    <a:pt x="154" y="1009"/>
                    <a:pt x="154" y="1009"/>
                  </a:cubicBezTo>
                  <a:cubicBezTo>
                    <a:pt x="162" y="1029"/>
                    <a:pt x="162" y="1029"/>
                    <a:pt x="162" y="1029"/>
                  </a:cubicBezTo>
                  <a:cubicBezTo>
                    <a:pt x="162" y="1029"/>
                    <a:pt x="152" y="1047"/>
                    <a:pt x="164" y="1043"/>
                  </a:cubicBezTo>
                  <a:cubicBezTo>
                    <a:pt x="171" y="1040"/>
                    <a:pt x="168" y="1015"/>
                    <a:pt x="168" y="1015"/>
                  </a:cubicBezTo>
                  <a:cubicBezTo>
                    <a:pt x="175" y="1006"/>
                    <a:pt x="175" y="1006"/>
                    <a:pt x="175" y="1006"/>
                  </a:cubicBezTo>
                  <a:lnTo>
                    <a:pt x="169" y="995"/>
                  </a:lnTo>
                  <a:close/>
                  <a:moveTo>
                    <a:pt x="112" y="920"/>
                  </a:moveTo>
                  <a:cubicBezTo>
                    <a:pt x="104" y="920"/>
                    <a:pt x="94" y="933"/>
                    <a:pt x="106" y="941"/>
                  </a:cubicBezTo>
                  <a:cubicBezTo>
                    <a:pt x="118" y="949"/>
                    <a:pt x="122" y="979"/>
                    <a:pt x="134" y="979"/>
                  </a:cubicBezTo>
                  <a:cubicBezTo>
                    <a:pt x="141" y="979"/>
                    <a:pt x="142" y="948"/>
                    <a:pt x="138" y="944"/>
                  </a:cubicBezTo>
                  <a:cubicBezTo>
                    <a:pt x="134" y="940"/>
                    <a:pt x="120" y="920"/>
                    <a:pt x="112" y="920"/>
                  </a:cubicBezTo>
                  <a:close/>
                  <a:moveTo>
                    <a:pt x="1400" y="1458"/>
                  </a:moveTo>
                  <a:cubicBezTo>
                    <a:pt x="1400" y="1439"/>
                    <a:pt x="1400" y="1439"/>
                    <a:pt x="1400" y="1439"/>
                  </a:cubicBezTo>
                  <a:cubicBezTo>
                    <a:pt x="1379" y="1453"/>
                    <a:pt x="1379" y="1453"/>
                    <a:pt x="1379" y="1453"/>
                  </a:cubicBezTo>
                  <a:lnTo>
                    <a:pt x="1400" y="1458"/>
                  </a:lnTo>
                  <a:close/>
                  <a:moveTo>
                    <a:pt x="35" y="851"/>
                  </a:moveTo>
                  <a:cubicBezTo>
                    <a:pt x="30" y="856"/>
                    <a:pt x="28" y="872"/>
                    <a:pt x="40" y="873"/>
                  </a:cubicBezTo>
                  <a:cubicBezTo>
                    <a:pt x="52" y="875"/>
                    <a:pt x="55" y="888"/>
                    <a:pt x="66" y="880"/>
                  </a:cubicBezTo>
                  <a:cubicBezTo>
                    <a:pt x="73" y="874"/>
                    <a:pt x="40" y="845"/>
                    <a:pt x="35" y="851"/>
                  </a:cubicBezTo>
                  <a:close/>
                  <a:moveTo>
                    <a:pt x="180" y="1059"/>
                  </a:moveTo>
                  <a:cubicBezTo>
                    <a:pt x="170" y="1071"/>
                    <a:pt x="176" y="1113"/>
                    <a:pt x="198" y="1109"/>
                  </a:cubicBezTo>
                  <a:cubicBezTo>
                    <a:pt x="207" y="1107"/>
                    <a:pt x="191" y="1047"/>
                    <a:pt x="180" y="1059"/>
                  </a:cubicBezTo>
                  <a:close/>
                  <a:moveTo>
                    <a:pt x="1881" y="1305"/>
                  </a:moveTo>
                  <a:cubicBezTo>
                    <a:pt x="1862" y="1309"/>
                    <a:pt x="1862" y="1309"/>
                    <a:pt x="1862" y="1309"/>
                  </a:cubicBezTo>
                  <a:cubicBezTo>
                    <a:pt x="1857" y="1330"/>
                    <a:pt x="1857" y="1330"/>
                    <a:pt x="1857" y="1330"/>
                  </a:cubicBezTo>
                  <a:cubicBezTo>
                    <a:pt x="1847" y="1340"/>
                    <a:pt x="1847" y="1340"/>
                    <a:pt x="1847" y="1340"/>
                  </a:cubicBezTo>
                  <a:cubicBezTo>
                    <a:pt x="1849" y="1375"/>
                    <a:pt x="1849" y="1375"/>
                    <a:pt x="1849" y="1375"/>
                  </a:cubicBezTo>
                  <a:cubicBezTo>
                    <a:pt x="1860" y="1378"/>
                    <a:pt x="1860" y="1378"/>
                    <a:pt x="1860" y="1378"/>
                  </a:cubicBezTo>
                  <a:cubicBezTo>
                    <a:pt x="1859" y="1365"/>
                    <a:pt x="1859" y="1365"/>
                    <a:pt x="1859" y="1365"/>
                  </a:cubicBezTo>
                  <a:cubicBezTo>
                    <a:pt x="1866" y="1362"/>
                    <a:pt x="1866" y="1362"/>
                    <a:pt x="1866" y="1362"/>
                  </a:cubicBezTo>
                  <a:cubicBezTo>
                    <a:pt x="1865" y="1347"/>
                    <a:pt x="1865" y="1347"/>
                    <a:pt x="1865" y="1347"/>
                  </a:cubicBezTo>
                  <a:cubicBezTo>
                    <a:pt x="1856" y="1347"/>
                    <a:pt x="1856" y="1347"/>
                    <a:pt x="1856" y="1347"/>
                  </a:cubicBezTo>
                  <a:cubicBezTo>
                    <a:pt x="1868" y="1327"/>
                    <a:pt x="1868" y="1327"/>
                    <a:pt x="1868" y="1327"/>
                  </a:cubicBezTo>
                  <a:lnTo>
                    <a:pt x="1881" y="1305"/>
                  </a:lnTo>
                  <a:close/>
                  <a:moveTo>
                    <a:pt x="2066" y="1449"/>
                  </a:moveTo>
                  <a:cubicBezTo>
                    <a:pt x="2072" y="1427"/>
                    <a:pt x="2072" y="1427"/>
                    <a:pt x="2072" y="1427"/>
                  </a:cubicBezTo>
                  <a:cubicBezTo>
                    <a:pt x="2068" y="1413"/>
                    <a:pt x="2068" y="1413"/>
                    <a:pt x="2068" y="1413"/>
                  </a:cubicBezTo>
                  <a:cubicBezTo>
                    <a:pt x="2067" y="1412"/>
                    <a:pt x="2067" y="1412"/>
                    <a:pt x="2067" y="1412"/>
                  </a:cubicBezTo>
                  <a:cubicBezTo>
                    <a:pt x="2065" y="1409"/>
                    <a:pt x="2056" y="1401"/>
                    <a:pt x="2037" y="1410"/>
                  </a:cubicBezTo>
                  <a:cubicBezTo>
                    <a:pt x="2015" y="1420"/>
                    <a:pt x="2011" y="1458"/>
                    <a:pt x="2011" y="1458"/>
                  </a:cubicBezTo>
                  <a:cubicBezTo>
                    <a:pt x="2053" y="1453"/>
                    <a:pt x="2053" y="1453"/>
                    <a:pt x="2053" y="1453"/>
                  </a:cubicBezTo>
                  <a:cubicBezTo>
                    <a:pt x="2053" y="1453"/>
                    <a:pt x="2059" y="1451"/>
                    <a:pt x="2066" y="1449"/>
                  </a:cubicBezTo>
                  <a:close/>
                  <a:moveTo>
                    <a:pt x="475" y="1321"/>
                  </a:moveTo>
                  <a:cubicBezTo>
                    <a:pt x="480" y="1316"/>
                    <a:pt x="480" y="1301"/>
                    <a:pt x="480" y="1301"/>
                  </a:cubicBezTo>
                  <a:cubicBezTo>
                    <a:pt x="499" y="1319"/>
                    <a:pt x="499" y="1319"/>
                    <a:pt x="499" y="1319"/>
                  </a:cubicBezTo>
                  <a:cubicBezTo>
                    <a:pt x="499" y="1319"/>
                    <a:pt x="507" y="1296"/>
                    <a:pt x="507" y="1280"/>
                  </a:cubicBezTo>
                  <a:cubicBezTo>
                    <a:pt x="507" y="1264"/>
                    <a:pt x="516" y="1220"/>
                    <a:pt x="516" y="1220"/>
                  </a:cubicBezTo>
                  <a:cubicBezTo>
                    <a:pt x="516" y="1220"/>
                    <a:pt x="507" y="1215"/>
                    <a:pt x="507" y="1205"/>
                  </a:cubicBezTo>
                  <a:cubicBezTo>
                    <a:pt x="507" y="1196"/>
                    <a:pt x="526" y="1181"/>
                    <a:pt x="520" y="1176"/>
                  </a:cubicBezTo>
                  <a:cubicBezTo>
                    <a:pt x="515" y="1171"/>
                    <a:pt x="510" y="1167"/>
                    <a:pt x="510" y="1167"/>
                  </a:cubicBezTo>
                  <a:cubicBezTo>
                    <a:pt x="502" y="1136"/>
                    <a:pt x="502" y="1136"/>
                    <a:pt x="502" y="1136"/>
                  </a:cubicBezTo>
                  <a:cubicBezTo>
                    <a:pt x="474" y="1137"/>
                    <a:pt x="474" y="1137"/>
                    <a:pt x="474" y="1137"/>
                  </a:cubicBezTo>
                  <a:cubicBezTo>
                    <a:pt x="474" y="1137"/>
                    <a:pt x="478" y="1119"/>
                    <a:pt x="471" y="1115"/>
                  </a:cubicBezTo>
                  <a:cubicBezTo>
                    <a:pt x="464" y="1111"/>
                    <a:pt x="450" y="1112"/>
                    <a:pt x="450" y="1112"/>
                  </a:cubicBezTo>
                  <a:cubicBezTo>
                    <a:pt x="444" y="1065"/>
                    <a:pt x="444" y="1065"/>
                    <a:pt x="444" y="1065"/>
                  </a:cubicBezTo>
                  <a:cubicBezTo>
                    <a:pt x="444" y="1065"/>
                    <a:pt x="402" y="1069"/>
                    <a:pt x="399" y="1056"/>
                  </a:cubicBezTo>
                  <a:cubicBezTo>
                    <a:pt x="396" y="1043"/>
                    <a:pt x="410" y="1027"/>
                    <a:pt x="410" y="1027"/>
                  </a:cubicBezTo>
                  <a:cubicBezTo>
                    <a:pt x="394" y="1025"/>
                    <a:pt x="394" y="1025"/>
                    <a:pt x="394" y="1025"/>
                  </a:cubicBezTo>
                  <a:cubicBezTo>
                    <a:pt x="394" y="1025"/>
                    <a:pt x="419" y="996"/>
                    <a:pt x="410" y="988"/>
                  </a:cubicBezTo>
                  <a:cubicBezTo>
                    <a:pt x="400" y="980"/>
                    <a:pt x="358" y="999"/>
                    <a:pt x="358" y="999"/>
                  </a:cubicBezTo>
                  <a:cubicBezTo>
                    <a:pt x="358" y="999"/>
                    <a:pt x="383" y="975"/>
                    <a:pt x="375" y="971"/>
                  </a:cubicBezTo>
                  <a:cubicBezTo>
                    <a:pt x="367" y="967"/>
                    <a:pt x="343" y="963"/>
                    <a:pt x="343" y="963"/>
                  </a:cubicBezTo>
                  <a:cubicBezTo>
                    <a:pt x="343" y="963"/>
                    <a:pt x="354" y="955"/>
                    <a:pt x="340" y="937"/>
                  </a:cubicBezTo>
                  <a:cubicBezTo>
                    <a:pt x="327" y="920"/>
                    <a:pt x="304" y="919"/>
                    <a:pt x="304" y="919"/>
                  </a:cubicBezTo>
                  <a:cubicBezTo>
                    <a:pt x="304" y="919"/>
                    <a:pt x="298" y="899"/>
                    <a:pt x="291" y="891"/>
                  </a:cubicBezTo>
                  <a:cubicBezTo>
                    <a:pt x="284" y="883"/>
                    <a:pt x="275" y="889"/>
                    <a:pt x="275" y="889"/>
                  </a:cubicBezTo>
                  <a:cubicBezTo>
                    <a:pt x="279" y="904"/>
                    <a:pt x="279" y="904"/>
                    <a:pt x="279" y="904"/>
                  </a:cubicBezTo>
                  <a:cubicBezTo>
                    <a:pt x="279" y="904"/>
                    <a:pt x="254" y="885"/>
                    <a:pt x="248" y="879"/>
                  </a:cubicBezTo>
                  <a:cubicBezTo>
                    <a:pt x="243" y="872"/>
                    <a:pt x="232" y="845"/>
                    <a:pt x="232" y="845"/>
                  </a:cubicBezTo>
                  <a:cubicBezTo>
                    <a:pt x="232" y="845"/>
                    <a:pt x="202" y="824"/>
                    <a:pt x="188" y="812"/>
                  </a:cubicBezTo>
                  <a:cubicBezTo>
                    <a:pt x="175" y="800"/>
                    <a:pt x="152" y="781"/>
                    <a:pt x="152" y="781"/>
                  </a:cubicBezTo>
                  <a:cubicBezTo>
                    <a:pt x="152" y="781"/>
                    <a:pt x="156" y="776"/>
                    <a:pt x="151" y="771"/>
                  </a:cubicBezTo>
                  <a:cubicBezTo>
                    <a:pt x="146" y="765"/>
                    <a:pt x="139" y="759"/>
                    <a:pt x="139" y="759"/>
                  </a:cubicBezTo>
                  <a:cubicBezTo>
                    <a:pt x="139" y="759"/>
                    <a:pt x="128" y="740"/>
                    <a:pt x="120" y="733"/>
                  </a:cubicBezTo>
                  <a:cubicBezTo>
                    <a:pt x="112" y="727"/>
                    <a:pt x="104" y="728"/>
                    <a:pt x="104" y="728"/>
                  </a:cubicBezTo>
                  <a:cubicBezTo>
                    <a:pt x="47" y="724"/>
                    <a:pt x="47" y="724"/>
                    <a:pt x="47" y="724"/>
                  </a:cubicBezTo>
                  <a:cubicBezTo>
                    <a:pt x="47" y="724"/>
                    <a:pt x="27" y="699"/>
                    <a:pt x="16" y="701"/>
                  </a:cubicBezTo>
                  <a:cubicBezTo>
                    <a:pt x="6" y="704"/>
                    <a:pt x="0" y="728"/>
                    <a:pt x="7" y="740"/>
                  </a:cubicBezTo>
                  <a:cubicBezTo>
                    <a:pt x="14" y="752"/>
                    <a:pt x="88" y="820"/>
                    <a:pt x="88" y="820"/>
                  </a:cubicBezTo>
                  <a:cubicBezTo>
                    <a:pt x="111" y="856"/>
                    <a:pt x="111" y="856"/>
                    <a:pt x="111" y="856"/>
                  </a:cubicBezTo>
                  <a:cubicBezTo>
                    <a:pt x="119" y="853"/>
                    <a:pt x="119" y="853"/>
                    <a:pt x="119" y="853"/>
                  </a:cubicBezTo>
                  <a:cubicBezTo>
                    <a:pt x="119" y="853"/>
                    <a:pt x="122" y="877"/>
                    <a:pt x="128" y="883"/>
                  </a:cubicBezTo>
                  <a:cubicBezTo>
                    <a:pt x="135" y="888"/>
                    <a:pt x="170" y="901"/>
                    <a:pt x="178" y="917"/>
                  </a:cubicBezTo>
                  <a:cubicBezTo>
                    <a:pt x="186" y="933"/>
                    <a:pt x="194" y="965"/>
                    <a:pt x="194" y="965"/>
                  </a:cubicBezTo>
                  <a:cubicBezTo>
                    <a:pt x="194" y="965"/>
                    <a:pt x="191" y="1000"/>
                    <a:pt x="199" y="1000"/>
                  </a:cubicBezTo>
                  <a:cubicBezTo>
                    <a:pt x="207" y="1000"/>
                    <a:pt x="219" y="992"/>
                    <a:pt x="222" y="1001"/>
                  </a:cubicBezTo>
                  <a:cubicBezTo>
                    <a:pt x="224" y="1011"/>
                    <a:pt x="230" y="1027"/>
                    <a:pt x="230" y="1027"/>
                  </a:cubicBezTo>
                  <a:cubicBezTo>
                    <a:pt x="255" y="1048"/>
                    <a:pt x="255" y="1048"/>
                    <a:pt x="255" y="1048"/>
                  </a:cubicBezTo>
                  <a:cubicBezTo>
                    <a:pt x="254" y="1064"/>
                    <a:pt x="254" y="1064"/>
                    <a:pt x="254" y="1064"/>
                  </a:cubicBezTo>
                  <a:cubicBezTo>
                    <a:pt x="275" y="1107"/>
                    <a:pt x="275" y="1107"/>
                    <a:pt x="275" y="1107"/>
                  </a:cubicBezTo>
                  <a:cubicBezTo>
                    <a:pt x="275" y="1107"/>
                    <a:pt x="268" y="1120"/>
                    <a:pt x="278" y="1135"/>
                  </a:cubicBezTo>
                  <a:cubicBezTo>
                    <a:pt x="287" y="1149"/>
                    <a:pt x="296" y="1152"/>
                    <a:pt x="296" y="1152"/>
                  </a:cubicBezTo>
                  <a:cubicBezTo>
                    <a:pt x="296" y="1152"/>
                    <a:pt x="306" y="1176"/>
                    <a:pt x="314" y="1184"/>
                  </a:cubicBezTo>
                  <a:cubicBezTo>
                    <a:pt x="322" y="1192"/>
                    <a:pt x="343" y="1200"/>
                    <a:pt x="343" y="1200"/>
                  </a:cubicBezTo>
                  <a:cubicBezTo>
                    <a:pt x="343" y="1225"/>
                    <a:pt x="343" y="1225"/>
                    <a:pt x="343" y="1225"/>
                  </a:cubicBezTo>
                  <a:cubicBezTo>
                    <a:pt x="343" y="1225"/>
                    <a:pt x="392" y="1267"/>
                    <a:pt x="395" y="1271"/>
                  </a:cubicBezTo>
                  <a:cubicBezTo>
                    <a:pt x="398" y="1275"/>
                    <a:pt x="411" y="1276"/>
                    <a:pt x="411" y="1276"/>
                  </a:cubicBezTo>
                  <a:cubicBezTo>
                    <a:pt x="411" y="1276"/>
                    <a:pt x="422" y="1301"/>
                    <a:pt x="430" y="1305"/>
                  </a:cubicBezTo>
                  <a:cubicBezTo>
                    <a:pt x="438" y="1309"/>
                    <a:pt x="440" y="1331"/>
                    <a:pt x="444" y="1329"/>
                  </a:cubicBezTo>
                  <a:cubicBezTo>
                    <a:pt x="448" y="1328"/>
                    <a:pt x="442" y="1307"/>
                    <a:pt x="447" y="1304"/>
                  </a:cubicBezTo>
                  <a:cubicBezTo>
                    <a:pt x="452" y="1301"/>
                    <a:pt x="470" y="1327"/>
                    <a:pt x="475" y="1321"/>
                  </a:cubicBezTo>
                  <a:close/>
                  <a:moveTo>
                    <a:pt x="228" y="1145"/>
                  </a:moveTo>
                  <a:cubicBezTo>
                    <a:pt x="220" y="1152"/>
                    <a:pt x="238" y="1161"/>
                    <a:pt x="238" y="1161"/>
                  </a:cubicBezTo>
                  <a:cubicBezTo>
                    <a:pt x="238" y="1161"/>
                    <a:pt x="250" y="1185"/>
                    <a:pt x="258" y="1177"/>
                  </a:cubicBezTo>
                  <a:cubicBezTo>
                    <a:pt x="266" y="1169"/>
                    <a:pt x="234" y="1141"/>
                    <a:pt x="228" y="1145"/>
                  </a:cubicBezTo>
                  <a:close/>
                  <a:moveTo>
                    <a:pt x="737" y="1455"/>
                  </a:moveTo>
                  <a:cubicBezTo>
                    <a:pt x="747" y="1464"/>
                    <a:pt x="780" y="1470"/>
                    <a:pt x="794" y="1471"/>
                  </a:cubicBezTo>
                  <a:cubicBezTo>
                    <a:pt x="809" y="1473"/>
                    <a:pt x="815" y="1470"/>
                    <a:pt x="837" y="1471"/>
                  </a:cubicBezTo>
                  <a:cubicBezTo>
                    <a:pt x="859" y="1473"/>
                    <a:pt x="877" y="1500"/>
                    <a:pt x="885" y="1505"/>
                  </a:cubicBezTo>
                  <a:cubicBezTo>
                    <a:pt x="894" y="1509"/>
                    <a:pt x="904" y="1500"/>
                    <a:pt x="904" y="1500"/>
                  </a:cubicBezTo>
                  <a:cubicBezTo>
                    <a:pt x="904" y="1500"/>
                    <a:pt x="921" y="1509"/>
                    <a:pt x="921" y="1503"/>
                  </a:cubicBezTo>
                  <a:cubicBezTo>
                    <a:pt x="921" y="1492"/>
                    <a:pt x="910" y="1477"/>
                    <a:pt x="910" y="1477"/>
                  </a:cubicBezTo>
                  <a:cubicBezTo>
                    <a:pt x="910" y="1477"/>
                    <a:pt x="921" y="1471"/>
                    <a:pt x="921" y="1452"/>
                  </a:cubicBezTo>
                  <a:cubicBezTo>
                    <a:pt x="921" y="1433"/>
                    <a:pt x="894" y="1433"/>
                    <a:pt x="879" y="1430"/>
                  </a:cubicBezTo>
                  <a:cubicBezTo>
                    <a:pt x="865" y="1427"/>
                    <a:pt x="866" y="1458"/>
                    <a:pt x="866" y="1458"/>
                  </a:cubicBezTo>
                  <a:cubicBezTo>
                    <a:pt x="841" y="1439"/>
                    <a:pt x="841" y="1439"/>
                    <a:pt x="841" y="1439"/>
                  </a:cubicBezTo>
                  <a:cubicBezTo>
                    <a:pt x="841" y="1439"/>
                    <a:pt x="847" y="1423"/>
                    <a:pt x="847" y="1399"/>
                  </a:cubicBezTo>
                  <a:cubicBezTo>
                    <a:pt x="847" y="1376"/>
                    <a:pt x="799" y="1385"/>
                    <a:pt x="799" y="1385"/>
                  </a:cubicBezTo>
                  <a:cubicBezTo>
                    <a:pt x="778" y="1373"/>
                    <a:pt x="778" y="1373"/>
                    <a:pt x="778" y="1373"/>
                  </a:cubicBezTo>
                  <a:cubicBezTo>
                    <a:pt x="775" y="1358"/>
                    <a:pt x="775" y="1358"/>
                    <a:pt x="775" y="1358"/>
                  </a:cubicBezTo>
                  <a:cubicBezTo>
                    <a:pt x="749" y="1358"/>
                    <a:pt x="749" y="1358"/>
                    <a:pt x="749" y="1358"/>
                  </a:cubicBezTo>
                  <a:cubicBezTo>
                    <a:pt x="749" y="1358"/>
                    <a:pt x="744" y="1379"/>
                    <a:pt x="744" y="1383"/>
                  </a:cubicBezTo>
                  <a:cubicBezTo>
                    <a:pt x="744" y="1387"/>
                    <a:pt x="709" y="1376"/>
                    <a:pt x="693" y="1373"/>
                  </a:cubicBezTo>
                  <a:cubicBezTo>
                    <a:pt x="677" y="1370"/>
                    <a:pt x="648" y="1371"/>
                    <a:pt x="648" y="1371"/>
                  </a:cubicBezTo>
                  <a:cubicBezTo>
                    <a:pt x="648" y="1371"/>
                    <a:pt x="630" y="1349"/>
                    <a:pt x="621" y="1339"/>
                  </a:cubicBezTo>
                  <a:cubicBezTo>
                    <a:pt x="612" y="1329"/>
                    <a:pt x="598" y="1340"/>
                    <a:pt x="598" y="1340"/>
                  </a:cubicBezTo>
                  <a:cubicBezTo>
                    <a:pt x="598" y="1340"/>
                    <a:pt x="573" y="1327"/>
                    <a:pt x="567" y="1326"/>
                  </a:cubicBezTo>
                  <a:cubicBezTo>
                    <a:pt x="561" y="1324"/>
                    <a:pt x="535" y="1323"/>
                    <a:pt x="535" y="1323"/>
                  </a:cubicBezTo>
                  <a:cubicBezTo>
                    <a:pt x="535" y="1323"/>
                    <a:pt x="524" y="1314"/>
                    <a:pt x="511" y="1318"/>
                  </a:cubicBezTo>
                  <a:cubicBezTo>
                    <a:pt x="498" y="1323"/>
                    <a:pt x="498" y="1351"/>
                    <a:pt x="491" y="1355"/>
                  </a:cubicBezTo>
                  <a:cubicBezTo>
                    <a:pt x="483" y="1360"/>
                    <a:pt x="469" y="1365"/>
                    <a:pt x="472" y="1376"/>
                  </a:cubicBezTo>
                  <a:cubicBezTo>
                    <a:pt x="496" y="1371"/>
                    <a:pt x="496" y="1371"/>
                    <a:pt x="496" y="1371"/>
                  </a:cubicBezTo>
                  <a:cubicBezTo>
                    <a:pt x="527" y="1374"/>
                    <a:pt x="527" y="1374"/>
                    <a:pt x="527" y="1374"/>
                  </a:cubicBezTo>
                  <a:cubicBezTo>
                    <a:pt x="527" y="1374"/>
                    <a:pt x="504" y="1387"/>
                    <a:pt x="514" y="1398"/>
                  </a:cubicBezTo>
                  <a:cubicBezTo>
                    <a:pt x="524" y="1408"/>
                    <a:pt x="558" y="1390"/>
                    <a:pt x="558" y="1390"/>
                  </a:cubicBezTo>
                  <a:cubicBezTo>
                    <a:pt x="558" y="1390"/>
                    <a:pt x="608" y="1417"/>
                    <a:pt x="623" y="1421"/>
                  </a:cubicBezTo>
                  <a:cubicBezTo>
                    <a:pt x="637" y="1426"/>
                    <a:pt x="687" y="1427"/>
                    <a:pt x="705" y="1427"/>
                  </a:cubicBezTo>
                  <a:cubicBezTo>
                    <a:pt x="722" y="1427"/>
                    <a:pt x="727" y="1446"/>
                    <a:pt x="737" y="1455"/>
                  </a:cubicBezTo>
                  <a:close/>
                  <a:moveTo>
                    <a:pt x="230" y="1133"/>
                  </a:moveTo>
                  <a:cubicBezTo>
                    <a:pt x="239" y="1132"/>
                    <a:pt x="226" y="1112"/>
                    <a:pt x="218" y="1117"/>
                  </a:cubicBezTo>
                  <a:cubicBezTo>
                    <a:pt x="211" y="1121"/>
                    <a:pt x="220" y="1135"/>
                    <a:pt x="230" y="1133"/>
                  </a:cubicBezTo>
                  <a:close/>
                  <a:moveTo>
                    <a:pt x="1489" y="1202"/>
                  </a:moveTo>
                  <a:cubicBezTo>
                    <a:pt x="1502" y="1212"/>
                    <a:pt x="1521" y="1208"/>
                    <a:pt x="1521" y="1208"/>
                  </a:cubicBezTo>
                  <a:cubicBezTo>
                    <a:pt x="1529" y="1197"/>
                    <a:pt x="1517" y="1170"/>
                    <a:pt x="1517" y="1170"/>
                  </a:cubicBezTo>
                  <a:cubicBezTo>
                    <a:pt x="1505" y="1173"/>
                    <a:pt x="1505" y="1173"/>
                    <a:pt x="1505" y="1173"/>
                  </a:cubicBezTo>
                  <a:cubicBezTo>
                    <a:pt x="1496" y="1163"/>
                    <a:pt x="1496" y="1163"/>
                    <a:pt x="1496" y="1163"/>
                  </a:cubicBezTo>
                  <a:cubicBezTo>
                    <a:pt x="1482" y="1174"/>
                    <a:pt x="1482" y="1174"/>
                    <a:pt x="1482" y="1174"/>
                  </a:cubicBezTo>
                  <a:cubicBezTo>
                    <a:pt x="1482" y="1174"/>
                    <a:pt x="1475" y="1193"/>
                    <a:pt x="1489" y="1202"/>
                  </a:cubicBezTo>
                  <a:close/>
                  <a:moveTo>
                    <a:pt x="673" y="1034"/>
                  </a:moveTo>
                  <a:cubicBezTo>
                    <a:pt x="704" y="1052"/>
                    <a:pt x="704" y="1052"/>
                    <a:pt x="704" y="1052"/>
                  </a:cubicBezTo>
                  <a:cubicBezTo>
                    <a:pt x="699" y="1076"/>
                    <a:pt x="699" y="1076"/>
                    <a:pt x="699" y="1076"/>
                  </a:cubicBezTo>
                  <a:cubicBezTo>
                    <a:pt x="716" y="1087"/>
                    <a:pt x="716" y="1087"/>
                    <a:pt x="716" y="1087"/>
                  </a:cubicBezTo>
                  <a:cubicBezTo>
                    <a:pt x="705" y="1106"/>
                    <a:pt x="705" y="1106"/>
                    <a:pt x="705" y="1106"/>
                  </a:cubicBezTo>
                  <a:cubicBezTo>
                    <a:pt x="718" y="1124"/>
                    <a:pt x="718" y="1124"/>
                    <a:pt x="718" y="1124"/>
                  </a:cubicBezTo>
                  <a:cubicBezTo>
                    <a:pt x="707" y="1131"/>
                    <a:pt x="707" y="1131"/>
                    <a:pt x="707" y="1131"/>
                  </a:cubicBezTo>
                  <a:cubicBezTo>
                    <a:pt x="717" y="1169"/>
                    <a:pt x="717" y="1169"/>
                    <a:pt x="717" y="1169"/>
                  </a:cubicBezTo>
                  <a:cubicBezTo>
                    <a:pt x="745" y="1165"/>
                    <a:pt x="745" y="1165"/>
                    <a:pt x="745" y="1165"/>
                  </a:cubicBezTo>
                  <a:cubicBezTo>
                    <a:pt x="765" y="1172"/>
                    <a:pt x="765" y="1172"/>
                    <a:pt x="765" y="1172"/>
                  </a:cubicBezTo>
                  <a:cubicBezTo>
                    <a:pt x="765" y="1172"/>
                    <a:pt x="777" y="1150"/>
                    <a:pt x="789" y="1150"/>
                  </a:cubicBezTo>
                  <a:cubicBezTo>
                    <a:pt x="801" y="1150"/>
                    <a:pt x="789" y="1182"/>
                    <a:pt x="801" y="1192"/>
                  </a:cubicBezTo>
                  <a:cubicBezTo>
                    <a:pt x="812" y="1201"/>
                    <a:pt x="822" y="1171"/>
                    <a:pt x="822" y="1171"/>
                  </a:cubicBezTo>
                  <a:cubicBezTo>
                    <a:pt x="840" y="1183"/>
                    <a:pt x="840" y="1183"/>
                    <a:pt x="840" y="1183"/>
                  </a:cubicBezTo>
                  <a:cubicBezTo>
                    <a:pt x="840" y="1183"/>
                    <a:pt x="856" y="1169"/>
                    <a:pt x="865" y="1169"/>
                  </a:cubicBezTo>
                  <a:cubicBezTo>
                    <a:pt x="874" y="1168"/>
                    <a:pt x="868" y="1194"/>
                    <a:pt x="878" y="1197"/>
                  </a:cubicBezTo>
                  <a:cubicBezTo>
                    <a:pt x="888" y="1201"/>
                    <a:pt x="919" y="1185"/>
                    <a:pt x="935" y="1188"/>
                  </a:cubicBezTo>
                  <a:cubicBezTo>
                    <a:pt x="951" y="1192"/>
                    <a:pt x="936" y="1241"/>
                    <a:pt x="936" y="1241"/>
                  </a:cubicBezTo>
                  <a:cubicBezTo>
                    <a:pt x="936" y="1241"/>
                    <a:pt x="950" y="1237"/>
                    <a:pt x="966" y="1230"/>
                  </a:cubicBezTo>
                  <a:cubicBezTo>
                    <a:pt x="982" y="1222"/>
                    <a:pt x="1004" y="1183"/>
                    <a:pt x="1004" y="1183"/>
                  </a:cubicBezTo>
                  <a:cubicBezTo>
                    <a:pt x="1004" y="1183"/>
                    <a:pt x="1025" y="1166"/>
                    <a:pt x="1031" y="1159"/>
                  </a:cubicBezTo>
                  <a:cubicBezTo>
                    <a:pt x="1036" y="1152"/>
                    <a:pt x="1055" y="1102"/>
                    <a:pt x="1055" y="1102"/>
                  </a:cubicBezTo>
                  <a:cubicBezTo>
                    <a:pt x="1055" y="1102"/>
                    <a:pt x="1037" y="1100"/>
                    <a:pt x="1034" y="1087"/>
                  </a:cubicBezTo>
                  <a:cubicBezTo>
                    <a:pt x="1031" y="1075"/>
                    <a:pt x="1037" y="1060"/>
                    <a:pt x="1042" y="1047"/>
                  </a:cubicBezTo>
                  <a:cubicBezTo>
                    <a:pt x="1048" y="1033"/>
                    <a:pt x="1070" y="1035"/>
                    <a:pt x="1083" y="1033"/>
                  </a:cubicBezTo>
                  <a:cubicBezTo>
                    <a:pt x="1095" y="1032"/>
                    <a:pt x="1102" y="1008"/>
                    <a:pt x="1101" y="1000"/>
                  </a:cubicBezTo>
                  <a:cubicBezTo>
                    <a:pt x="1099" y="992"/>
                    <a:pt x="1079" y="1000"/>
                    <a:pt x="1079" y="1000"/>
                  </a:cubicBezTo>
                  <a:cubicBezTo>
                    <a:pt x="1079" y="1000"/>
                    <a:pt x="1076" y="987"/>
                    <a:pt x="1088" y="974"/>
                  </a:cubicBezTo>
                  <a:cubicBezTo>
                    <a:pt x="1101" y="963"/>
                    <a:pt x="1128" y="968"/>
                    <a:pt x="1139" y="970"/>
                  </a:cubicBezTo>
                  <a:cubicBezTo>
                    <a:pt x="1150" y="973"/>
                    <a:pt x="1150" y="956"/>
                    <a:pt x="1150" y="956"/>
                  </a:cubicBezTo>
                  <a:cubicBezTo>
                    <a:pt x="1124" y="934"/>
                    <a:pt x="1124" y="934"/>
                    <a:pt x="1124" y="934"/>
                  </a:cubicBezTo>
                  <a:cubicBezTo>
                    <a:pt x="1124" y="907"/>
                    <a:pt x="1124" y="907"/>
                    <a:pt x="1124" y="907"/>
                  </a:cubicBezTo>
                  <a:cubicBezTo>
                    <a:pt x="1124" y="907"/>
                    <a:pt x="1105" y="906"/>
                    <a:pt x="1105" y="898"/>
                  </a:cubicBezTo>
                  <a:cubicBezTo>
                    <a:pt x="1105" y="890"/>
                    <a:pt x="1117" y="878"/>
                    <a:pt x="1116" y="867"/>
                  </a:cubicBezTo>
                  <a:cubicBezTo>
                    <a:pt x="1115" y="855"/>
                    <a:pt x="1082" y="852"/>
                    <a:pt x="1082" y="852"/>
                  </a:cubicBezTo>
                  <a:cubicBezTo>
                    <a:pt x="1093" y="834"/>
                    <a:pt x="1093" y="834"/>
                    <a:pt x="1093" y="834"/>
                  </a:cubicBezTo>
                  <a:cubicBezTo>
                    <a:pt x="1082" y="829"/>
                    <a:pt x="1082" y="829"/>
                    <a:pt x="1082" y="829"/>
                  </a:cubicBezTo>
                  <a:cubicBezTo>
                    <a:pt x="1086" y="809"/>
                    <a:pt x="1086" y="809"/>
                    <a:pt x="1086" y="809"/>
                  </a:cubicBezTo>
                  <a:cubicBezTo>
                    <a:pt x="1078" y="798"/>
                    <a:pt x="1078" y="798"/>
                    <a:pt x="1078" y="798"/>
                  </a:cubicBezTo>
                  <a:cubicBezTo>
                    <a:pt x="1078" y="798"/>
                    <a:pt x="1078" y="798"/>
                    <a:pt x="1078" y="798"/>
                  </a:cubicBezTo>
                  <a:cubicBezTo>
                    <a:pt x="1077" y="797"/>
                    <a:pt x="1077" y="797"/>
                    <a:pt x="1077" y="797"/>
                  </a:cubicBezTo>
                  <a:cubicBezTo>
                    <a:pt x="1090" y="794"/>
                    <a:pt x="1090" y="794"/>
                    <a:pt x="1090" y="794"/>
                  </a:cubicBezTo>
                  <a:cubicBezTo>
                    <a:pt x="1081" y="752"/>
                    <a:pt x="1081" y="752"/>
                    <a:pt x="1081" y="752"/>
                  </a:cubicBezTo>
                  <a:cubicBezTo>
                    <a:pt x="1081" y="752"/>
                    <a:pt x="1096" y="768"/>
                    <a:pt x="1105" y="770"/>
                  </a:cubicBezTo>
                  <a:cubicBezTo>
                    <a:pt x="1115" y="771"/>
                    <a:pt x="1130" y="768"/>
                    <a:pt x="1130" y="768"/>
                  </a:cubicBezTo>
                  <a:cubicBezTo>
                    <a:pt x="1130" y="768"/>
                    <a:pt x="1105" y="744"/>
                    <a:pt x="1111" y="734"/>
                  </a:cubicBezTo>
                  <a:cubicBezTo>
                    <a:pt x="1116" y="723"/>
                    <a:pt x="1147" y="739"/>
                    <a:pt x="1147" y="739"/>
                  </a:cubicBezTo>
                  <a:cubicBezTo>
                    <a:pt x="1164" y="719"/>
                    <a:pt x="1164" y="719"/>
                    <a:pt x="1164" y="719"/>
                  </a:cubicBezTo>
                  <a:cubicBezTo>
                    <a:pt x="1147" y="713"/>
                    <a:pt x="1147" y="713"/>
                    <a:pt x="1147" y="713"/>
                  </a:cubicBezTo>
                  <a:cubicBezTo>
                    <a:pt x="1147" y="713"/>
                    <a:pt x="1144" y="701"/>
                    <a:pt x="1136" y="696"/>
                  </a:cubicBezTo>
                  <a:cubicBezTo>
                    <a:pt x="1128" y="690"/>
                    <a:pt x="1096" y="685"/>
                    <a:pt x="1096" y="685"/>
                  </a:cubicBezTo>
                  <a:cubicBezTo>
                    <a:pt x="1096" y="685"/>
                    <a:pt x="1095" y="666"/>
                    <a:pt x="1083" y="654"/>
                  </a:cubicBezTo>
                  <a:cubicBezTo>
                    <a:pt x="1070" y="641"/>
                    <a:pt x="1057" y="650"/>
                    <a:pt x="1057" y="650"/>
                  </a:cubicBezTo>
                  <a:cubicBezTo>
                    <a:pt x="1046" y="609"/>
                    <a:pt x="1046" y="609"/>
                    <a:pt x="1046" y="609"/>
                  </a:cubicBezTo>
                  <a:cubicBezTo>
                    <a:pt x="1042" y="622"/>
                    <a:pt x="1042" y="622"/>
                    <a:pt x="1042" y="622"/>
                  </a:cubicBezTo>
                  <a:cubicBezTo>
                    <a:pt x="1032" y="608"/>
                    <a:pt x="1032" y="608"/>
                    <a:pt x="1032" y="608"/>
                  </a:cubicBezTo>
                  <a:cubicBezTo>
                    <a:pt x="1026" y="649"/>
                    <a:pt x="1026" y="649"/>
                    <a:pt x="1026" y="649"/>
                  </a:cubicBezTo>
                  <a:cubicBezTo>
                    <a:pt x="1026" y="649"/>
                    <a:pt x="1011" y="653"/>
                    <a:pt x="1004" y="658"/>
                  </a:cubicBezTo>
                  <a:cubicBezTo>
                    <a:pt x="997" y="663"/>
                    <a:pt x="996" y="685"/>
                    <a:pt x="996" y="685"/>
                  </a:cubicBezTo>
                  <a:cubicBezTo>
                    <a:pt x="979" y="691"/>
                    <a:pt x="979" y="691"/>
                    <a:pt x="979" y="691"/>
                  </a:cubicBezTo>
                  <a:cubicBezTo>
                    <a:pt x="986" y="715"/>
                    <a:pt x="986" y="715"/>
                    <a:pt x="986" y="715"/>
                  </a:cubicBezTo>
                  <a:cubicBezTo>
                    <a:pt x="986" y="715"/>
                    <a:pt x="962" y="712"/>
                    <a:pt x="946" y="709"/>
                  </a:cubicBezTo>
                  <a:cubicBezTo>
                    <a:pt x="931" y="705"/>
                    <a:pt x="930" y="744"/>
                    <a:pt x="930" y="744"/>
                  </a:cubicBezTo>
                  <a:cubicBezTo>
                    <a:pt x="903" y="774"/>
                    <a:pt x="903" y="774"/>
                    <a:pt x="903" y="774"/>
                  </a:cubicBezTo>
                  <a:cubicBezTo>
                    <a:pt x="903" y="774"/>
                    <a:pt x="895" y="809"/>
                    <a:pt x="879" y="821"/>
                  </a:cubicBezTo>
                  <a:cubicBezTo>
                    <a:pt x="863" y="832"/>
                    <a:pt x="822" y="840"/>
                    <a:pt x="813" y="843"/>
                  </a:cubicBezTo>
                  <a:cubicBezTo>
                    <a:pt x="804" y="845"/>
                    <a:pt x="772" y="870"/>
                    <a:pt x="772" y="870"/>
                  </a:cubicBezTo>
                  <a:cubicBezTo>
                    <a:pt x="763" y="893"/>
                    <a:pt x="763" y="893"/>
                    <a:pt x="763" y="893"/>
                  </a:cubicBezTo>
                  <a:cubicBezTo>
                    <a:pt x="763" y="893"/>
                    <a:pt x="787" y="911"/>
                    <a:pt x="768" y="925"/>
                  </a:cubicBezTo>
                  <a:cubicBezTo>
                    <a:pt x="750" y="939"/>
                    <a:pt x="737" y="916"/>
                    <a:pt x="726" y="913"/>
                  </a:cubicBezTo>
                  <a:cubicBezTo>
                    <a:pt x="716" y="911"/>
                    <a:pt x="703" y="930"/>
                    <a:pt x="703" y="930"/>
                  </a:cubicBezTo>
                  <a:cubicBezTo>
                    <a:pt x="703" y="930"/>
                    <a:pt x="684" y="912"/>
                    <a:pt x="671" y="926"/>
                  </a:cubicBezTo>
                  <a:cubicBezTo>
                    <a:pt x="657" y="941"/>
                    <a:pt x="650" y="977"/>
                    <a:pt x="650" y="977"/>
                  </a:cubicBezTo>
                  <a:cubicBezTo>
                    <a:pt x="666" y="999"/>
                    <a:pt x="666" y="999"/>
                    <a:pt x="666" y="999"/>
                  </a:cubicBezTo>
                  <a:lnTo>
                    <a:pt x="673" y="1034"/>
                  </a:lnTo>
                  <a:close/>
                  <a:moveTo>
                    <a:pt x="1328" y="1086"/>
                  </a:moveTo>
                  <a:cubicBezTo>
                    <a:pt x="1328" y="1099"/>
                    <a:pt x="1328" y="1099"/>
                    <a:pt x="1328" y="1099"/>
                  </a:cubicBezTo>
                  <a:cubicBezTo>
                    <a:pt x="1328" y="1099"/>
                    <a:pt x="1343" y="1111"/>
                    <a:pt x="1350" y="1094"/>
                  </a:cubicBezTo>
                  <a:cubicBezTo>
                    <a:pt x="1358" y="1078"/>
                    <a:pt x="1328" y="1086"/>
                    <a:pt x="1328" y="1086"/>
                  </a:cubicBezTo>
                  <a:close/>
                  <a:moveTo>
                    <a:pt x="1342" y="1569"/>
                  </a:moveTo>
                  <a:cubicBezTo>
                    <a:pt x="1353" y="1578"/>
                    <a:pt x="1393" y="1541"/>
                    <a:pt x="1408" y="1527"/>
                  </a:cubicBezTo>
                  <a:cubicBezTo>
                    <a:pt x="1411" y="1524"/>
                    <a:pt x="1413" y="1522"/>
                    <a:pt x="1413" y="1522"/>
                  </a:cubicBezTo>
                  <a:cubicBezTo>
                    <a:pt x="1423" y="1519"/>
                    <a:pt x="1423" y="1519"/>
                    <a:pt x="1423" y="1519"/>
                  </a:cubicBezTo>
                  <a:cubicBezTo>
                    <a:pt x="1445" y="1503"/>
                    <a:pt x="1445" y="1503"/>
                    <a:pt x="1445" y="1503"/>
                  </a:cubicBezTo>
                  <a:cubicBezTo>
                    <a:pt x="1445" y="1503"/>
                    <a:pt x="1454" y="1512"/>
                    <a:pt x="1467" y="1509"/>
                  </a:cubicBezTo>
                  <a:cubicBezTo>
                    <a:pt x="1480" y="1506"/>
                    <a:pt x="1524" y="1459"/>
                    <a:pt x="1524" y="1459"/>
                  </a:cubicBezTo>
                  <a:cubicBezTo>
                    <a:pt x="1508" y="1450"/>
                    <a:pt x="1508" y="1450"/>
                    <a:pt x="1508" y="1450"/>
                  </a:cubicBezTo>
                  <a:cubicBezTo>
                    <a:pt x="1495" y="1464"/>
                    <a:pt x="1495" y="1464"/>
                    <a:pt x="1495" y="1464"/>
                  </a:cubicBezTo>
                  <a:cubicBezTo>
                    <a:pt x="1495" y="1464"/>
                    <a:pt x="1452" y="1465"/>
                    <a:pt x="1440" y="1465"/>
                  </a:cubicBezTo>
                  <a:cubicBezTo>
                    <a:pt x="1429" y="1465"/>
                    <a:pt x="1423" y="1483"/>
                    <a:pt x="1423" y="1483"/>
                  </a:cubicBezTo>
                  <a:cubicBezTo>
                    <a:pt x="1423" y="1483"/>
                    <a:pt x="1417" y="1482"/>
                    <a:pt x="1409" y="1483"/>
                  </a:cubicBezTo>
                  <a:cubicBezTo>
                    <a:pt x="1409" y="1483"/>
                    <a:pt x="1409" y="1483"/>
                    <a:pt x="1409" y="1483"/>
                  </a:cubicBezTo>
                  <a:cubicBezTo>
                    <a:pt x="1404" y="1484"/>
                    <a:pt x="1397" y="1485"/>
                    <a:pt x="1392" y="1489"/>
                  </a:cubicBezTo>
                  <a:cubicBezTo>
                    <a:pt x="1388" y="1491"/>
                    <a:pt x="1385" y="1495"/>
                    <a:pt x="1384" y="1498"/>
                  </a:cubicBezTo>
                  <a:cubicBezTo>
                    <a:pt x="1384" y="1498"/>
                    <a:pt x="1384" y="1498"/>
                    <a:pt x="1384" y="1498"/>
                  </a:cubicBezTo>
                  <a:cubicBezTo>
                    <a:pt x="1367" y="1497"/>
                    <a:pt x="1367" y="1497"/>
                    <a:pt x="1367" y="1497"/>
                  </a:cubicBezTo>
                  <a:cubicBezTo>
                    <a:pt x="1356" y="1508"/>
                    <a:pt x="1356" y="1508"/>
                    <a:pt x="1356" y="1508"/>
                  </a:cubicBezTo>
                  <a:cubicBezTo>
                    <a:pt x="1360" y="1517"/>
                    <a:pt x="1360" y="1517"/>
                    <a:pt x="1360" y="1517"/>
                  </a:cubicBezTo>
                  <a:cubicBezTo>
                    <a:pt x="1359" y="1517"/>
                    <a:pt x="1358" y="1518"/>
                    <a:pt x="1357" y="1519"/>
                  </a:cubicBezTo>
                  <a:cubicBezTo>
                    <a:pt x="1345" y="1531"/>
                    <a:pt x="1322" y="1554"/>
                    <a:pt x="1342" y="1569"/>
                  </a:cubicBezTo>
                  <a:close/>
                  <a:moveTo>
                    <a:pt x="453" y="1009"/>
                  </a:moveTo>
                  <a:cubicBezTo>
                    <a:pt x="472" y="1020"/>
                    <a:pt x="472" y="1020"/>
                    <a:pt x="472" y="1020"/>
                  </a:cubicBezTo>
                  <a:cubicBezTo>
                    <a:pt x="472" y="999"/>
                    <a:pt x="472" y="999"/>
                    <a:pt x="472" y="999"/>
                  </a:cubicBezTo>
                  <a:cubicBezTo>
                    <a:pt x="455" y="986"/>
                    <a:pt x="455" y="986"/>
                    <a:pt x="455" y="986"/>
                  </a:cubicBezTo>
                  <a:lnTo>
                    <a:pt x="453" y="1009"/>
                  </a:lnTo>
                  <a:close/>
                  <a:moveTo>
                    <a:pt x="990" y="1444"/>
                  </a:moveTo>
                  <a:cubicBezTo>
                    <a:pt x="980" y="1443"/>
                    <a:pt x="974" y="1454"/>
                    <a:pt x="974" y="1454"/>
                  </a:cubicBezTo>
                  <a:cubicBezTo>
                    <a:pt x="974" y="1454"/>
                    <a:pt x="991" y="1469"/>
                    <a:pt x="1002" y="1462"/>
                  </a:cubicBezTo>
                  <a:cubicBezTo>
                    <a:pt x="1012" y="1454"/>
                    <a:pt x="1000" y="1446"/>
                    <a:pt x="990" y="1444"/>
                  </a:cubicBezTo>
                  <a:close/>
                  <a:moveTo>
                    <a:pt x="611" y="1177"/>
                  </a:moveTo>
                  <a:cubicBezTo>
                    <a:pt x="624" y="1190"/>
                    <a:pt x="624" y="1190"/>
                    <a:pt x="624" y="1190"/>
                  </a:cubicBezTo>
                  <a:cubicBezTo>
                    <a:pt x="630" y="1173"/>
                    <a:pt x="630" y="1173"/>
                    <a:pt x="630" y="1173"/>
                  </a:cubicBezTo>
                  <a:cubicBezTo>
                    <a:pt x="630" y="1173"/>
                    <a:pt x="622" y="1143"/>
                    <a:pt x="603" y="1145"/>
                  </a:cubicBezTo>
                  <a:cubicBezTo>
                    <a:pt x="584" y="1146"/>
                    <a:pt x="590" y="1165"/>
                    <a:pt x="596" y="1183"/>
                  </a:cubicBezTo>
                  <a:lnTo>
                    <a:pt x="611" y="1177"/>
                  </a:lnTo>
                  <a:close/>
                  <a:moveTo>
                    <a:pt x="933" y="1446"/>
                  </a:moveTo>
                  <a:cubicBezTo>
                    <a:pt x="930" y="1465"/>
                    <a:pt x="930" y="1465"/>
                    <a:pt x="930" y="1465"/>
                  </a:cubicBezTo>
                  <a:cubicBezTo>
                    <a:pt x="930" y="1465"/>
                    <a:pt x="940" y="1493"/>
                    <a:pt x="953" y="1482"/>
                  </a:cubicBezTo>
                  <a:cubicBezTo>
                    <a:pt x="966" y="1472"/>
                    <a:pt x="969" y="1446"/>
                    <a:pt x="959" y="1446"/>
                  </a:cubicBezTo>
                  <a:cubicBezTo>
                    <a:pt x="949" y="1446"/>
                    <a:pt x="933" y="1446"/>
                    <a:pt x="933" y="1446"/>
                  </a:cubicBezTo>
                  <a:close/>
                  <a:moveTo>
                    <a:pt x="863" y="1376"/>
                  </a:moveTo>
                  <a:cubicBezTo>
                    <a:pt x="858" y="1401"/>
                    <a:pt x="879" y="1395"/>
                    <a:pt x="879" y="1395"/>
                  </a:cubicBezTo>
                  <a:cubicBezTo>
                    <a:pt x="917" y="1368"/>
                    <a:pt x="917" y="1368"/>
                    <a:pt x="917" y="1368"/>
                  </a:cubicBezTo>
                  <a:cubicBezTo>
                    <a:pt x="914" y="1362"/>
                    <a:pt x="914" y="1362"/>
                    <a:pt x="914" y="1362"/>
                  </a:cubicBezTo>
                  <a:cubicBezTo>
                    <a:pt x="914" y="1362"/>
                    <a:pt x="864" y="1366"/>
                    <a:pt x="863" y="1376"/>
                  </a:cubicBezTo>
                  <a:close/>
                  <a:moveTo>
                    <a:pt x="459" y="948"/>
                  </a:moveTo>
                  <a:cubicBezTo>
                    <a:pt x="454" y="936"/>
                    <a:pt x="440" y="943"/>
                    <a:pt x="450" y="959"/>
                  </a:cubicBezTo>
                  <a:cubicBezTo>
                    <a:pt x="461" y="978"/>
                    <a:pt x="464" y="960"/>
                    <a:pt x="459" y="948"/>
                  </a:cubicBezTo>
                  <a:close/>
                  <a:moveTo>
                    <a:pt x="507" y="1117"/>
                  </a:moveTo>
                  <a:cubicBezTo>
                    <a:pt x="507" y="1117"/>
                    <a:pt x="512" y="1146"/>
                    <a:pt x="523" y="1158"/>
                  </a:cubicBezTo>
                  <a:cubicBezTo>
                    <a:pt x="533" y="1170"/>
                    <a:pt x="559" y="1170"/>
                    <a:pt x="559" y="1170"/>
                  </a:cubicBezTo>
                  <a:cubicBezTo>
                    <a:pt x="558" y="1142"/>
                    <a:pt x="558" y="1142"/>
                    <a:pt x="558" y="1142"/>
                  </a:cubicBezTo>
                  <a:cubicBezTo>
                    <a:pt x="546" y="1134"/>
                    <a:pt x="546" y="1134"/>
                    <a:pt x="546" y="1134"/>
                  </a:cubicBezTo>
                  <a:cubicBezTo>
                    <a:pt x="545" y="1114"/>
                    <a:pt x="545" y="1114"/>
                    <a:pt x="545" y="1114"/>
                  </a:cubicBezTo>
                  <a:cubicBezTo>
                    <a:pt x="545" y="1114"/>
                    <a:pt x="530" y="1089"/>
                    <a:pt x="508" y="1083"/>
                  </a:cubicBezTo>
                  <a:cubicBezTo>
                    <a:pt x="486" y="1077"/>
                    <a:pt x="487" y="1102"/>
                    <a:pt x="487" y="1102"/>
                  </a:cubicBezTo>
                  <a:cubicBezTo>
                    <a:pt x="487" y="1102"/>
                    <a:pt x="473" y="1098"/>
                    <a:pt x="480" y="1118"/>
                  </a:cubicBezTo>
                  <a:lnTo>
                    <a:pt x="507" y="1117"/>
                  </a:lnTo>
                  <a:close/>
                  <a:moveTo>
                    <a:pt x="3069" y="3225"/>
                  </a:moveTo>
                  <a:cubicBezTo>
                    <a:pt x="3060" y="3225"/>
                    <a:pt x="3060" y="3225"/>
                    <a:pt x="3060" y="3225"/>
                  </a:cubicBezTo>
                  <a:cubicBezTo>
                    <a:pt x="3066" y="3200"/>
                    <a:pt x="3066" y="3200"/>
                    <a:pt x="3066" y="3200"/>
                  </a:cubicBezTo>
                  <a:cubicBezTo>
                    <a:pt x="3048" y="3211"/>
                    <a:pt x="3048" y="3211"/>
                    <a:pt x="3048" y="3211"/>
                  </a:cubicBezTo>
                  <a:cubicBezTo>
                    <a:pt x="3048" y="3211"/>
                    <a:pt x="3061" y="3185"/>
                    <a:pt x="3049" y="3185"/>
                  </a:cubicBezTo>
                  <a:cubicBezTo>
                    <a:pt x="3037" y="3184"/>
                    <a:pt x="3027" y="3201"/>
                    <a:pt x="3027" y="3201"/>
                  </a:cubicBezTo>
                  <a:cubicBezTo>
                    <a:pt x="3016" y="3208"/>
                    <a:pt x="3016" y="3208"/>
                    <a:pt x="3016" y="3208"/>
                  </a:cubicBezTo>
                  <a:cubicBezTo>
                    <a:pt x="3016" y="3208"/>
                    <a:pt x="3005" y="3219"/>
                    <a:pt x="2996" y="3230"/>
                  </a:cubicBezTo>
                  <a:cubicBezTo>
                    <a:pt x="2988" y="3241"/>
                    <a:pt x="2967" y="3243"/>
                    <a:pt x="2952" y="3253"/>
                  </a:cubicBezTo>
                  <a:cubicBezTo>
                    <a:pt x="2937" y="3264"/>
                    <a:pt x="2931" y="3282"/>
                    <a:pt x="2931" y="3282"/>
                  </a:cubicBezTo>
                  <a:cubicBezTo>
                    <a:pt x="2931" y="3282"/>
                    <a:pt x="2884" y="3296"/>
                    <a:pt x="2871" y="3305"/>
                  </a:cubicBezTo>
                  <a:cubicBezTo>
                    <a:pt x="2856" y="3314"/>
                    <a:pt x="2832" y="3334"/>
                    <a:pt x="2832" y="3334"/>
                  </a:cubicBezTo>
                  <a:cubicBezTo>
                    <a:pt x="2832" y="3334"/>
                    <a:pt x="2805" y="3338"/>
                    <a:pt x="2788" y="3345"/>
                  </a:cubicBezTo>
                  <a:cubicBezTo>
                    <a:pt x="2772" y="3353"/>
                    <a:pt x="2763" y="3355"/>
                    <a:pt x="2748" y="3363"/>
                  </a:cubicBezTo>
                  <a:cubicBezTo>
                    <a:pt x="2732" y="3372"/>
                    <a:pt x="2702" y="3383"/>
                    <a:pt x="2690" y="3389"/>
                  </a:cubicBezTo>
                  <a:cubicBezTo>
                    <a:pt x="2677" y="3395"/>
                    <a:pt x="2683" y="3414"/>
                    <a:pt x="2683" y="3414"/>
                  </a:cubicBezTo>
                  <a:cubicBezTo>
                    <a:pt x="2673" y="3405"/>
                    <a:pt x="2673" y="3405"/>
                    <a:pt x="2673" y="3405"/>
                  </a:cubicBezTo>
                  <a:cubicBezTo>
                    <a:pt x="2673" y="3405"/>
                    <a:pt x="2638" y="3427"/>
                    <a:pt x="2627" y="3433"/>
                  </a:cubicBezTo>
                  <a:cubicBezTo>
                    <a:pt x="2615" y="3440"/>
                    <a:pt x="2610" y="3437"/>
                    <a:pt x="2594" y="3443"/>
                  </a:cubicBezTo>
                  <a:cubicBezTo>
                    <a:pt x="2578" y="3449"/>
                    <a:pt x="2571" y="3458"/>
                    <a:pt x="2571" y="3458"/>
                  </a:cubicBezTo>
                  <a:cubicBezTo>
                    <a:pt x="2571" y="3458"/>
                    <a:pt x="2591" y="3457"/>
                    <a:pt x="2589" y="3461"/>
                  </a:cubicBezTo>
                  <a:cubicBezTo>
                    <a:pt x="2587" y="3465"/>
                    <a:pt x="2579" y="3470"/>
                    <a:pt x="2583" y="3479"/>
                  </a:cubicBezTo>
                  <a:cubicBezTo>
                    <a:pt x="2588" y="3488"/>
                    <a:pt x="2611" y="3474"/>
                    <a:pt x="2611" y="3474"/>
                  </a:cubicBezTo>
                  <a:cubicBezTo>
                    <a:pt x="2618" y="3481"/>
                    <a:pt x="2618" y="3481"/>
                    <a:pt x="2618" y="3481"/>
                  </a:cubicBezTo>
                  <a:cubicBezTo>
                    <a:pt x="2634" y="3481"/>
                    <a:pt x="2634" y="3481"/>
                    <a:pt x="2634" y="3481"/>
                  </a:cubicBezTo>
                  <a:cubicBezTo>
                    <a:pt x="2636" y="3487"/>
                    <a:pt x="2636" y="3487"/>
                    <a:pt x="2636" y="3487"/>
                  </a:cubicBezTo>
                  <a:cubicBezTo>
                    <a:pt x="2658" y="3484"/>
                    <a:pt x="2658" y="3484"/>
                    <a:pt x="2658" y="3484"/>
                  </a:cubicBezTo>
                  <a:cubicBezTo>
                    <a:pt x="2667" y="3498"/>
                    <a:pt x="2667" y="3498"/>
                    <a:pt x="2667" y="3498"/>
                  </a:cubicBezTo>
                  <a:cubicBezTo>
                    <a:pt x="2689" y="3495"/>
                    <a:pt x="2689" y="3495"/>
                    <a:pt x="2689" y="3495"/>
                  </a:cubicBezTo>
                  <a:cubicBezTo>
                    <a:pt x="2689" y="3495"/>
                    <a:pt x="2707" y="3506"/>
                    <a:pt x="2723" y="3503"/>
                  </a:cubicBezTo>
                  <a:cubicBezTo>
                    <a:pt x="2738" y="3500"/>
                    <a:pt x="2743" y="3484"/>
                    <a:pt x="2753" y="3477"/>
                  </a:cubicBezTo>
                  <a:cubicBezTo>
                    <a:pt x="2763" y="3470"/>
                    <a:pt x="2771" y="3480"/>
                    <a:pt x="2786" y="3470"/>
                  </a:cubicBezTo>
                  <a:cubicBezTo>
                    <a:pt x="2801" y="3460"/>
                    <a:pt x="2791" y="3447"/>
                    <a:pt x="2803" y="3436"/>
                  </a:cubicBezTo>
                  <a:cubicBezTo>
                    <a:pt x="2814" y="3424"/>
                    <a:pt x="2828" y="3432"/>
                    <a:pt x="2836" y="3424"/>
                  </a:cubicBezTo>
                  <a:cubicBezTo>
                    <a:pt x="2844" y="3417"/>
                    <a:pt x="2836" y="3408"/>
                    <a:pt x="2836" y="3408"/>
                  </a:cubicBezTo>
                  <a:cubicBezTo>
                    <a:pt x="2850" y="3407"/>
                    <a:pt x="2850" y="3407"/>
                    <a:pt x="2850" y="3407"/>
                  </a:cubicBezTo>
                  <a:cubicBezTo>
                    <a:pt x="2889" y="3377"/>
                    <a:pt x="2889" y="3377"/>
                    <a:pt x="2889" y="3377"/>
                  </a:cubicBezTo>
                  <a:cubicBezTo>
                    <a:pt x="2877" y="3367"/>
                    <a:pt x="2877" y="3367"/>
                    <a:pt x="2877" y="3367"/>
                  </a:cubicBezTo>
                  <a:cubicBezTo>
                    <a:pt x="2904" y="3377"/>
                    <a:pt x="2904" y="3377"/>
                    <a:pt x="2904" y="3377"/>
                  </a:cubicBezTo>
                  <a:cubicBezTo>
                    <a:pt x="2904" y="3377"/>
                    <a:pt x="2905" y="3361"/>
                    <a:pt x="2914" y="3360"/>
                  </a:cubicBezTo>
                  <a:cubicBezTo>
                    <a:pt x="2923" y="3359"/>
                    <a:pt x="2931" y="3367"/>
                    <a:pt x="2943" y="3370"/>
                  </a:cubicBezTo>
                  <a:cubicBezTo>
                    <a:pt x="2954" y="3372"/>
                    <a:pt x="2959" y="3353"/>
                    <a:pt x="2959" y="3353"/>
                  </a:cubicBezTo>
                  <a:cubicBezTo>
                    <a:pt x="2949" y="3345"/>
                    <a:pt x="2949" y="3345"/>
                    <a:pt x="2949" y="3345"/>
                  </a:cubicBezTo>
                  <a:cubicBezTo>
                    <a:pt x="2966" y="3330"/>
                    <a:pt x="2966" y="3330"/>
                    <a:pt x="2966" y="3330"/>
                  </a:cubicBezTo>
                  <a:cubicBezTo>
                    <a:pt x="2978" y="3316"/>
                    <a:pt x="2978" y="3316"/>
                    <a:pt x="2978" y="3316"/>
                  </a:cubicBezTo>
                  <a:cubicBezTo>
                    <a:pt x="2978" y="3316"/>
                    <a:pt x="2989" y="3309"/>
                    <a:pt x="3001" y="3306"/>
                  </a:cubicBezTo>
                  <a:cubicBezTo>
                    <a:pt x="3013" y="3303"/>
                    <a:pt x="3018" y="3286"/>
                    <a:pt x="3018" y="3286"/>
                  </a:cubicBezTo>
                  <a:cubicBezTo>
                    <a:pt x="3018" y="3286"/>
                    <a:pt x="3029" y="3284"/>
                    <a:pt x="3039" y="3280"/>
                  </a:cubicBezTo>
                  <a:cubicBezTo>
                    <a:pt x="3050" y="3276"/>
                    <a:pt x="3059" y="3258"/>
                    <a:pt x="3059" y="3258"/>
                  </a:cubicBezTo>
                  <a:cubicBezTo>
                    <a:pt x="3059" y="3258"/>
                    <a:pt x="3079" y="3251"/>
                    <a:pt x="3089" y="3239"/>
                  </a:cubicBezTo>
                  <a:cubicBezTo>
                    <a:pt x="3100" y="3226"/>
                    <a:pt x="3087" y="3203"/>
                    <a:pt x="3087" y="3203"/>
                  </a:cubicBezTo>
                  <a:lnTo>
                    <a:pt x="3069" y="3225"/>
                  </a:lnTo>
                  <a:close/>
                  <a:moveTo>
                    <a:pt x="3410" y="3026"/>
                  </a:moveTo>
                  <a:cubicBezTo>
                    <a:pt x="3402" y="3018"/>
                    <a:pt x="3392" y="3036"/>
                    <a:pt x="3392" y="3036"/>
                  </a:cubicBezTo>
                  <a:cubicBezTo>
                    <a:pt x="3392" y="3036"/>
                    <a:pt x="3386" y="3036"/>
                    <a:pt x="3377" y="3034"/>
                  </a:cubicBezTo>
                  <a:cubicBezTo>
                    <a:pt x="3369" y="3031"/>
                    <a:pt x="3351" y="3045"/>
                    <a:pt x="3339" y="3042"/>
                  </a:cubicBezTo>
                  <a:cubicBezTo>
                    <a:pt x="3327" y="3039"/>
                    <a:pt x="3332" y="2995"/>
                    <a:pt x="3332" y="2995"/>
                  </a:cubicBezTo>
                  <a:cubicBezTo>
                    <a:pt x="3348" y="2970"/>
                    <a:pt x="3348" y="2970"/>
                    <a:pt x="3348" y="2970"/>
                  </a:cubicBezTo>
                  <a:cubicBezTo>
                    <a:pt x="3348" y="2970"/>
                    <a:pt x="3348" y="2952"/>
                    <a:pt x="3338" y="2953"/>
                  </a:cubicBezTo>
                  <a:cubicBezTo>
                    <a:pt x="3327" y="2953"/>
                    <a:pt x="3327" y="2969"/>
                    <a:pt x="3327" y="2979"/>
                  </a:cubicBezTo>
                  <a:cubicBezTo>
                    <a:pt x="3326" y="2988"/>
                    <a:pt x="3314" y="2996"/>
                    <a:pt x="3314" y="2996"/>
                  </a:cubicBezTo>
                  <a:cubicBezTo>
                    <a:pt x="3311" y="2976"/>
                    <a:pt x="3311" y="2976"/>
                    <a:pt x="3311" y="2976"/>
                  </a:cubicBezTo>
                  <a:cubicBezTo>
                    <a:pt x="3297" y="2963"/>
                    <a:pt x="3297" y="2963"/>
                    <a:pt x="3297" y="2963"/>
                  </a:cubicBezTo>
                  <a:cubicBezTo>
                    <a:pt x="3297" y="2963"/>
                    <a:pt x="3321" y="2932"/>
                    <a:pt x="3321" y="2912"/>
                  </a:cubicBezTo>
                  <a:cubicBezTo>
                    <a:pt x="3322" y="2892"/>
                    <a:pt x="3288" y="2891"/>
                    <a:pt x="3288" y="2891"/>
                  </a:cubicBezTo>
                  <a:cubicBezTo>
                    <a:pt x="3291" y="2877"/>
                    <a:pt x="3291" y="2877"/>
                    <a:pt x="3291" y="2877"/>
                  </a:cubicBezTo>
                  <a:cubicBezTo>
                    <a:pt x="3278" y="2875"/>
                    <a:pt x="3278" y="2875"/>
                    <a:pt x="3278" y="2875"/>
                  </a:cubicBezTo>
                  <a:cubicBezTo>
                    <a:pt x="3263" y="2861"/>
                    <a:pt x="3263" y="2861"/>
                    <a:pt x="3263" y="2861"/>
                  </a:cubicBezTo>
                  <a:cubicBezTo>
                    <a:pt x="3270" y="2850"/>
                    <a:pt x="3270" y="2850"/>
                    <a:pt x="3270" y="2850"/>
                  </a:cubicBezTo>
                  <a:cubicBezTo>
                    <a:pt x="3250" y="2862"/>
                    <a:pt x="3250" y="2862"/>
                    <a:pt x="3250" y="2862"/>
                  </a:cubicBezTo>
                  <a:cubicBezTo>
                    <a:pt x="3263" y="2885"/>
                    <a:pt x="3263" y="2885"/>
                    <a:pt x="3263" y="2885"/>
                  </a:cubicBezTo>
                  <a:cubicBezTo>
                    <a:pt x="3257" y="2910"/>
                    <a:pt x="3257" y="2910"/>
                    <a:pt x="3257" y="2910"/>
                  </a:cubicBezTo>
                  <a:cubicBezTo>
                    <a:pt x="3272" y="2916"/>
                    <a:pt x="3272" y="2916"/>
                    <a:pt x="3272" y="2916"/>
                  </a:cubicBezTo>
                  <a:cubicBezTo>
                    <a:pt x="3263" y="2920"/>
                    <a:pt x="3263" y="2920"/>
                    <a:pt x="3263" y="2920"/>
                  </a:cubicBezTo>
                  <a:cubicBezTo>
                    <a:pt x="3267" y="2934"/>
                    <a:pt x="3267" y="2934"/>
                    <a:pt x="3267" y="2934"/>
                  </a:cubicBezTo>
                  <a:cubicBezTo>
                    <a:pt x="3283" y="2939"/>
                    <a:pt x="3283" y="2939"/>
                    <a:pt x="3283" y="2939"/>
                  </a:cubicBezTo>
                  <a:cubicBezTo>
                    <a:pt x="3267" y="2947"/>
                    <a:pt x="3267" y="2947"/>
                    <a:pt x="3267" y="2947"/>
                  </a:cubicBezTo>
                  <a:cubicBezTo>
                    <a:pt x="3276" y="2952"/>
                    <a:pt x="3276" y="2952"/>
                    <a:pt x="3276" y="2952"/>
                  </a:cubicBezTo>
                  <a:cubicBezTo>
                    <a:pt x="3276" y="2952"/>
                    <a:pt x="3273" y="2966"/>
                    <a:pt x="3273" y="2972"/>
                  </a:cubicBezTo>
                  <a:cubicBezTo>
                    <a:pt x="3273" y="2979"/>
                    <a:pt x="3286" y="2986"/>
                    <a:pt x="3286" y="2986"/>
                  </a:cubicBezTo>
                  <a:cubicBezTo>
                    <a:pt x="3273" y="2988"/>
                    <a:pt x="3273" y="2988"/>
                    <a:pt x="3273" y="2988"/>
                  </a:cubicBezTo>
                  <a:cubicBezTo>
                    <a:pt x="3265" y="2998"/>
                    <a:pt x="3265" y="2998"/>
                    <a:pt x="3265" y="2998"/>
                  </a:cubicBezTo>
                  <a:cubicBezTo>
                    <a:pt x="3276" y="3004"/>
                    <a:pt x="3276" y="3004"/>
                    <a:pt x="3276" y="3004"/>
                  </a:cubicBezTo>
                  <a:cubicBezTo>
                    <a:pt x="3276" y="3004"/>
                    <a:pt x="3255" y="3024"/>
                    <a:pt x="3253" y="3035"/>
                  </a:cubicBezTo>
                  <a:cubicBezTo>
                    <a:pt x="3252" y="3046"/>
                    <a:pt x="3262" y="3049"/>
                    <a:pt x="3262" y="3049"/>
                  </a:cubicBezTo>
                  <a:cubicBezTo>
                    <a:pt x="3262" y="3049"/>
                    <a:pt x="3240" y="3053"/>
                    <a:pt x="3227" y="3059"/>
                  </a:cubicBezTo>
                  <a:cubicBezTo>
                    <a:pt x="3214" y="3064"/>
                    <a:pt x="3217" y="3067"/>
                    <a:pt x="3201" y="3079"/>
                  </a:cubicBezTo>
                  <a:cubicBezTo>
                    <a:pt x="3184" y="3092"/>
                    <a:pt x="3170" y="3093"/>
                    <a:pt x="3149" y="3105"/>
                  </a:cubicBezTo>
                  <a:cubicBezTo>
                    <a:pt x="3128" y="3118"/>
                    <a:pt x="3147" y="3152"/>
                    <a:pt x="3147" y="3152"/>
                  </a:cubicBezTo>
                  <a:cubicBezTo>
                    <a:pt x="3147" y="3152"/>
                    <a:pt x="3170" y="3150"/>
                    <a:pt x="3180" y="3152"/>
                  </a:cubicBezTo>
                  <a:cubicBezTo>
                    <a:pt x="3190" y="3154"/>
                    <a:pt x="3180" y="3173"/>
                    <a:pt x="3180" y="3188"/>
                  </a:cubicBezTo>
                  <a:cubicBezTo>
                    <a:pt x="3181" y="3204"/>
                    <a:pt x="3164" y="3203"/>
                    <a:pt x="3147" y="3209"/>
                  </a:cubicBezTo>
                  <a:cubicBezTo>
                    <a:pt x="3130" y="3215"/>
                    <a:pt x="3138" y="3220"/>
                    <a:pt x="3138" y="3220"/>
                  </a:cubicBezTo>
                  <a:cubicBezTo>
                    <a:pt x="3128" y="3231"/>
                    <a:pt x="3128" y="3231"/>
                    <a:pt x="3128" y="3231"/>
                  </a:cubicBezTo>
                  <a:cubicBezTo>
                    <a:pt x="3128" y="3231"/>
                    <a:pt x="3146" y="3244"/>
                    <a:pt x="3160" y="3240"/>
                  </a:cubicBezTo>
                  <a:cubicBezTo>
                    <a:pt x="3173" y="3235"/>
                    <a:pt x="3204" y="3201"/>
                    <a:pt x="3215" y="3190"/>
                  </a:cubicBezTo>
                  <a:cubicBezTo>
                    <a:pt x="3226" y="3179"/>
                    <a:pt x="3253" y="3171"/>
                    <a:pt x="3258" y="3171"/>
                  </a:cubicBezTo>
                  <a:cubicBezTo>
                    <a:pt x="3263" y="3170"/>
                    <a:pt x="3268" y="3158"/>
                    <a:pt x="3268" y="3158"/>
                  </a:cubicBezTo>
                  <a:cubicBezTo>
                    <a:pt x="3268" y="3158"/>
                    <a:pt x="3275" y="3155"/>
                    <a:pt x="3286" y="3151"/>
                  </a:cubicBezTo>
                  <a:cubicBezTo>
                    <a:pt x="3297" y="3146"/>
                    <a:pt x="3286" y="3127"/>
                    <a:pt x="3286" y="3127"/>
                  </a:cubicBezTo>
                  <a:cubicBezTo>
                    <a:pt x="3286" y="3127"/>
                    <a:pt x="3296" y="3119"/>
                    <a:pt x="3309" y="3113"/>
                  </a:cubicBezTo>
                  <a:cubicBezTo>
                    <a:pt x="3323" y="3107"/>
                    <a:pt x="3333" y="3119"/>
                    <a:pt x="3345" y="3116"/>
                  </a:cubicBezTo>
                  <a:cubicBezTo>
                    <a:pt x="3357" y="3114"/>
                    <a:pt x="3353" y="3090"/>
                    <a:pt x="3353" y="3090"/>
                  </a:cubicBezTo>
                  <a:cubicBezTo>
                    <a:pt x="3353" y="3090"/>
                    <a:pt x="3364" y="3087"/>
                    <a:pt x="3376" y="3086"/>
                  </a:cubicBezTo>
                  <a:cubicBezTo>
                    <a:pt x="3387" y="3085"/>
                    <a:pt x="3379" y="3071"/>
                    <a:pt x="3386" y="3065"/>
                  </a:cubicBezTo>
                  <a:cubicBezTo>
                    <a:pt x="3394" y="3060"/>
                    <a:pt x="3402" y="3063"/>
                    <a:pt x="3412" y="3055"/>
                  </a:cubicBezTo>
                  <a:cubicBezTo>
                    <a:pt x="3422" y="3047"/>
                    <a:pt x="3418" y="3033"/>
                    <a:pt x="3410" y="3026"/>
                  </a:cubicBezTo>
                  <a:close/>
                  <a:moveTo>
                    <a:pt x="1920" y="1741"/>
                  </a:moveTo>
                  <a:cubicBezTo>
                    <a:pt x="1914" y="1741"/>
                    <a:pt x="1910" y="1772"/>
                    <a:pt x="1910" y="1772"/>
                  </a:cubicBezTo>
                  <a:cubicBezTo>
                    <a:pt x="1920" y="1786"/>
                    <a:pt x="1941" y="1774"/>
                    <a:pt x="1941" y="1774"/>
                  </a:cubicBezTo>
                  <a:cubicBezTo>
                    <a:pt x="1937" y="1765"/>
                    <a:pt x="1937" y="1765"/>
                    <a:pt x="1937" y="1765"/>
                  </a:cubicBezTo>
                  <a:cubicBezTo>
                    <a:pt x="1941" y="1746"/>
                    <a:pt x="1941" y="1746"/>
                    <a:pt x="1941" y="1746"/>
                  </a:cubicBezTo>
                  <a:cubicBezTo>
                    <a:pt x="1941" y="1746"/>
                    <a:pt x="1925" y="1741"/>
                    <a:pt x="1920" y="1741"/>
                  </a:cubicBezTo>
                  <a:close/>
                  <a:moveTo>
                    <a:pt x="2520" y="2353"/>
                  </a:moveTo>
                  <a:cubicBezTo>
                    <a:pt x="2520" y="2353"/>
                    <a:pt x="2517" y="2312"/>
                    <a:pt x="2516" y="2306"/>
                  </a:cubicBezTo>
                  <a:cubicBezTo>
                    <a:pt x="2514" y="2300"/>
                    <a:pt x="2494" y="2299"/>
                    <a:pt x="2494" y="2299"/>
                  </a:cubicBezTo>
                  <a:cubicBezTo>
                    <a:pt x="2494" y="2285"/>
                    <a:pt x="2494" y="2285"/>
                    <a:pt x="2494" y="2285"/>
                  </a:cubicBezTo>
                  <a:cubicBezTo>
                    <a:pt x="2481" y="2277"/>
                    <a:pt x="2481" y="2277"/>
                    <a:pt x="2481" y="2277"/>
                  </a:cubicBezTo>
                  <a:cubicBezTo>
                    <a:pt x="2481" y="2277"/>
                    <a:pt x="2486" y="2260"/>
                    <a:pt x="2481" y="2253"/>
                  </a:cubicBezTo>
                  <a:cubicBezTo>
                    <a:pt x="2476" y="2246"/>
                    <a:pt x="2456" y="2239"/>
                    <a:pt x="2456" y="2239"/>
                  </a:cubicBezTo>
                  <a:cubicBezTo>
                    <a:pt x="2456" y="2239"/>
                    <a:pt x="2491" y="2233"/>
                    <a:pt x="2493" y="2220"/>
                  </a:cubicBezTo>
                  <a:cubicBezTo>
                    <a:pt x="2495" y="2206"/>
                    <a:pt x="2473" y="2202"/>
                    <a:pt x="2473" y="2202"/>
                  </a:cubicBezTo>
                  <a:cubicBezTo>
                    <a:pt x="2473" y="2202"/>
                    <a:pt x="2466" y="2181"/>
                    <a:pt x="2455" y="2182"/>
                  </a:cubicBezTo>
                  <a:cubicBezTo>
                    <a:pt x="2443" y="2183"/>
                    <a:pt x="2448" y="2201"/>
                    <a:pt x="2448" y="2201"/>
                  </a:cubicBezTo>
                  <a:cubicBezTo>
                    <a:pt x="2434" y="2198"/>
                    <a:pt x="2434" y="2198"/>
                    <a:pt x="2434" y="2198"/>
                  </a:cubicBezTo>
                  <a:cubicBezTo>
                    <a:pt x="2434" y="2198"/>
                    <a:pt x="2447" y="2157"/>
                    <a:pt x="2447" y="2147"/>
                  </a:cubicBezTo>
                  <a:cubicBezTo>
                    <a:pt x="2446" y="2138"/>
                    <a:pt x="2426" y="2136"/>
                    <a:pt x="2422" y="2126"/>
                  </a:cubicBezTo>
                  <a:cubicBezTo>
                    <a:pt x="2419" y="2117"/>
                    <a:pt x="2432" y="2100"/>
                    <a:pt x="2428" y="2086"/>
                  </a:cubicBezTo>
                  <a:cubicBezTo>
                    <a:pt x="2424" y="2073"/>
                    <a:pt x="2364" y="2044"/>
                    <a:pt x="2364" y="2044"/>
                  </a:cubicBezTo>
                  <a:cubicBezTo>
                    <a:pt x="2358" y="2050"/>
                    <a:pt x="2358" y="2050"/>
                    <a:pt x="2358" y="2050"/>
                  </a:cubicBezTo>
                  <a:cubicBezTo>
                    <a:pt x="2358" y="2050"/>
                    <a:pt x="2330" y="2018"/>
                    <a:pt x="2328" y="1996"/>
                  </a:cubicBezTo>
                  <a:cubicBezTo>
                    <a:pt x="2327" y="1973"/>
                    <a:pt x="2336" y="1960"/>
                    <a:pt x="2336" y="1940"/>
                  </a:cubicBezTo>
                  <a:cubicBezTo>
                    <a:pt x="2336" y="1920"/>
                    <a:pt x="2317" y="1877"/>
                    <a:pt x="2313" y="1861"/>
                  </a:cubicBezTo>
                  <a:cubicBezTo>
                    <a:pt x="2309" y="1845"/>
                    <a:pt x="2320" y="1835"/>
                    <a:pt x="2322" y="1826"/>
                  </a:cubicBezTo>
                  <a:cubicBezTo>
                    <a:pt x="2324" y="1817"/>
                    <a:pt x="2317" y="1779"/>
                    <a:pt x="2317" y="1779"/>
                  </a:cubicBezTo>
                  <a:cubicBezTo>
                    <a:pt x="2300" y="1771"/>
                    <a:pt x="2300" y="1771"/>
                    <a:pt x="2300" y="1771"/>
                  </a:cubicBezTo>
                  <a:cubicBezTo>
                    <a:pt x="2300" y="1771"/>
                    <a:pt x="2286" y="1756"/>
                    <a:pt x="2276" y="1756"/>
                  </a:cubicBezTo>
                  <a:cubicBezTo>
                    <a:pt x="2266" y="1755"/>
                    <a:pt x="2260" y="1770"/>
                    <a:pt x="2260" y="1770"/>
                  </a:cubicBezTo>
                  <a:cubicBezTo>
                    <a:pt x="2260" y="1770"/>
                    <a:pt x="2253" y="1755"/>
                    <a:pt x="2252" y="1746"/>
                  </a:cubicBezTo>
                  <a:cubicBezTo>
                    <a:pt x="2251" y="1738"/>
                    <a:pt x="2258" y="1714"/>
                    <a:pt x="2258" y="1714"/>
                  </a:cubicBezTo>
                  <a:cubicBezTo>
                    <a:pt x="2247" y="1699"/>
                    <a:pt x="2247" y="1699"/>
                    <a:pt x="2247" y="1699"/>
                  </a:cubicBezTo>
                  <a:cubicBezTo>
                    <a:pt x="2247" y="1643"/>
                    <a:pt x="2247" y="1643"/>
                    <a:pt x="2247" y="1643"/>
                  </a:cubicBezTo>
                  <a:cubicBezTo>
                    <a:pt x="2247" y="1643"/>
                    <a:pt x="2226" y="1629"/>
                    <a:pt x="2229" y="1620"/>
                  </a:cubicBezTo>
                  <a:cubicBezTo>
                    <a:pt x="2233" y="1611"/>
                    <a:pt x="2237" y="1599"/>
                    <a:pt x="2232" y="1594"/>
                  </a:cubicBezTo>
                  <a:cubicBezTo>
                    <a:pt x="2227" y="1590"/>
                    <a:pt x="2215" y="1588"/>
                    <a:pt x="2215" y="1588"/>
                  </a:cubicBezTo>
                  <a:cubicBezTo>
                    <a:pt x="2216" y="1579"/>
                    <a:pt x="2216" y="1579"/>
                    <a:pt x="2216" y="1579"/>
                  </a:cubicBezTo>
                  <a:cubicBezTo>
                    <a:pt x="2196" y="1584"/>
                    <a:pt x="2196" y="1584"/>
                    <a:pt x="2196" y="1584"/>
                  </a:cubicBezTo>
                  <a:cubicBezTo>
                    <a:pt x="2192" y="1597"/>
                    <a:pt x="2192" y="1597"/>
                    <a:pt x="2192" y="1597"/>
                  </a:cubicBezTo>
                  <a:cubicBezTo>
                    <a:pt x="2192" y="1597"/>
                    <a:pt x="2180" y="1605"/>
                    <a:pt x="2174" y="1609"/>
                  </a:cubicBezTo>
                  <a:cubicBezTo>
                    <a:pt x="2169" y="1613"/>
                    <a:pt x="2182" y="1639"/>
                    <a:pt x="2182" y="1649"/>
                  </a:cubicBezTo>
                  <a:cubicBezTo>
                    <a:pt x="2181" y="1660"/>
                    <a:pt x="2147" y="1697"/>
                    <a:pt x="2147" y="1697"/>
                  </a:cubicBezTo>
                  <a:cubicBezTo>
                    <a:pt x="2158" y="1706"/>
                    <a:pt x="2158" y="1706"/>
                    <a:pt x="2158" y="1706"/>
                  </a:cubicBezTo>
                  <a:cubicBezTo>
                    <a:pt x="2158" y="1706"/>
                    <a:pt x="2143" y="1726"/>
                    <a:pt x="2141" y="1734"/>
                  </a:cubicBezTo>
                  <a:cubicBezTo>
                    <a:pt x="2139" y="1742"/>
                    <a:pt x="2145" y="1768"/>
                    <a:pt x="2145" y="1768"/>
                  </a:cubicBezTo>
                  <a:cubicBezTo>
                    <a:pt x="2145" y="1768"/>
                    <a:pt x="2124" y="1852"/>
                    <a:pt x="2123" y="1864"/>
                  </a:cubicBezTo>
                  <a:cubicBezTo>
                    <a:pt x="2122" y="1875"/>
                    <a:pt x="2095" y="1904"/>
                    <a:pt x="2095" y="1904"/>
                  </a:cubicBezTo>
                  <a:cubicBezTo>
                    <a:pt x="2095" y="1904"/>
                    <a:pt x="2096" y="1937"/>
                    <a:pt x="2079" y="1945"/>
                  </a:cubicBezTo>
                  <a:cubicBezTo>
                    <a:pt x="2062" y="1952"/>
                    <a:pt x="2026" y="1960"/>
                    <a:pt x="2026" y="1960"/>
                  </a:cubicBezTo>
                  <a:cubicBezTo>
                    <a:pt x="2026" y="1960"/>
                    <a:pt x="2005" y="1926"/>
                    <a:pt x="2000" y="1916"/>
                  </a:cubicBezTo>
                  <a:cubicBezTo>
                    <a:pt x="1995" y="1907"/>
                    <a:pt x="1954" y="1893"/>
                    <a:pt x="1934" y="1885"/>
                  </a:cubicBezTo>
                  <a:cubicBezTo>
                    <a:pt x="1913" y="1878"/>
                    <a:pt x="1900" y="1845"/>
                    <a:pt x="1897" y="1841"/>
                  </a:cubicBezTo>
                  <a:cubicBezTo>
                    <a:pt x="1894" y="1838"/>
                    <a:pt x="1874" y="1839"/>
                    <a:pt x="1874" y="1839"/>
                  </a:cubicBezTo>
                  <a:cubicBezTo>
                    <a:pt x="1858" y="1810"/>
                    <a:pt x="1858" y="1810"/>
                    <a:pt x="1858" y="1810"/>
                  </a:cubicBezTo>
                  <a:cubicBezTo>
                    <a:pt x="1871" y="1796"/>
                    <a:pt x="1871" y="1796"/>
                    <a:pt x="1871" y="1796"/>
                  </a:cubicBezTo>
                  <a:cubicBezTo>
                    <a:pt x="1871" y="1796"/>
                    <a:pt x="1864" y="1785"/>
                    <a:pt x="1872" y="1774"/>
                  </a:cubicBezTo>
                  <a:cubicBezTo>
                    <a:pt x="1880" y="1763"/>
                    <a:pt x="1890" y="1760"/>
                    <a:pt x="1890" y="1760"/>
                  </a:cubicBezTo>
                  <a:cubicBezTo>
                    <a:pt x="1886" y="1730"/>
                    <a:pt x="1886" y="1730"/>
                    <a:pt x="1886" y="1730"/>
                  </a:cubicBezTo>
                  <a:cubicBezTo>
                    <a:pt x="1899" y="1718"/>
                    <a:pt x="1899" y="1718"/>
                    <a:pt x="1899" y="1718"/>
                  </a:cubicBezTo>
                  <a:cubicBezTo>
                    <a:pt x="1899" y="1718"/>
                    <a:pt x="1913" y="1725"/>
                    <a:pt x="1918" y="1723"/>
                  </a:cubicBezTo>
                  <a:cubicBezTo>
                    <a:pt x="1924" y="1721"/>
                    <a:pt x="1925" y="1698"/>
                    <a:pt x="1925" y="1698"/>
                  </a:cubicBezTo>
                  <a:cubicBezTo>
                    <a:pt x="1950" y="1674"/>
                    <a:pt x="1950" y="1674"/>
                    <a:pt x="1950" y="1674"/>
                  </a:cubicBezTo>
                  <a:cubicBezTo>
                    <a:pt x="1950" y="1674"/>
                    <a:pt x="1936" y="1651"/>
                    <a:pt x="1920" y="1648"/>
                  </a:cubicBezTo>
                  <a:cubicBezTo>
                    <a:pt x="1903" y="1646"/>
                    <a:pt x="1882" y="1671"/>
                    <a:pt x="1882" y="1671"/>
                  </a:cubicBezTo>
                  <a:cubicBezTo>
                    <a:pt x="1880" y="1657"/>
                    <a:pt x="1880" y="1657"/>
                    <a:pt x="1880" y="1657"/>
                  </a:cubicBezTo>
                  <a:cubicBezTo>
                    <a:pt x="1860" y="1659"/>
                    <a:pt x="1860" y="1659"/>
                    <a:pt x="1860" y="1659"/>
                  </a:cubicBezTo>
                  <a:cubicBezTo>
                    <a:pt x="1851" y="1668"/>
                    <a:pt x="1851" y="1668"/>
                    <a:pt x="1851" y="1668"/>
                  </a:cubicBezTo>
                  <a:cubicBezTo>
                    <a:pt x="1845" y="1657"/>
                    <a:pt x="1845" y="1657"/>
                    <a:pt x="1845" y="1657"/>
                  </a:cubicBezTo>
                  <a:cubicBezTo>
                    <a:pt x="1821" y="1654"/>
                    <a:pt x="1821" y="1654"/>
                    <a:pt x="1821" y="1654"/>
                  </a:cubicBezTo>
                  <a:cubicBezTo>
                    <a:pt x="1821" y="1654"/>
                    <a:pt x="1795" y="1635"/>
                    <a:pt x="1790" y="1635"/>
                  </a:cubicBezTo>
                  <a:cubicBezTo>
                    <a:pt x="1786" y="1636"/>
                    <a:pt x="1752" y="1632"/>
                    <a:pt x="1752" y="1632"/>
                  </a:cubicBezTo>
                  <a:cubicBezTo>
                    <a:pt x="1752" y="1632"/>
                    <a:pt x="1744" y="1610"/>
                    <a:pt x="1737" y="1607"/>
                  </a:cubicBezTo>
                  <a:cubicBezTo>
                    <a:pt x="1731" y="1603"/>
                    <a:pt x="1729" y="1617"/>
                    <a:pt x="1729" y="1617"/>
                  </a:cubicBezTo>
                  <a:cubicBezTo>
                    <a:pt x="1729" y="1617"/>
                    <a:pt x="1704" y="1604"/>
                    <a:pt x="1698" y="1609"/>
                  </a:cubicBezTo>
                  <a:cubicBezTo>
                    <a:pt x="1692" y="1613"/>
                    <a:pt x="1701" y="1621"/>
                    <a:pt x="1701" y="1621"/>
                  </a:cubicBezTo>
                  <a:cubicBezTo>
                    <a:pt x="1701" y="1621"/>
                    <a:pt x="1688" y="1620"/>
                    <a:pt x="1686" y="1625"/>
                  </a:cubicBezTo>
                  <a:cubicBezTo>
                    <a:pt x="1683" y="1631"/>
                    <a:pt x="1700" y="1637"/>
                    <a:pt x="1711" y="1640"/>
                  </a:cubicBezTo>
                  <a:cubicBezTo>
                    <a:pt x="1722" y="1643"/>
                    <a:pt x="1728" y="1635"/>
                    <a:pt x="1728" y="1635"/>
                  </a:cubicBezTo>
                  <a:cubicBezTo>
                    <a:pt x="1750" y="1644"/>
                    <a:pt x="1750" y="1644"/>
                    <a:pt x="1750" y="1644"/>
                  </a:cubicBezTo>
                  <a:cubicBezTo>
                    <a:pt x="1750" y="1644"/>
                    <a:pt x="1728" y="1657"/>
                    <a:pt x="1716" y="1662"/>
                  </a:cubicBezTo>
                  <a:cubicBezTo>
                    <a:pt x="1705" y="1667"/>
                    <a:pt x="1671" y="1663"/>
                    <a:pt x="1663" y="1665"/>
                  </a:cubicBezTo>
                  <a:cubicBezTo>
                    <a:pt x="1656" y="1667"/>
                    <a:pt x="1606" y="1693"/>
                    <a:pt x="1606" y="1693"/>
                  </a:cubicBezTo>
                  <a:cubicBezTo>
                    <a:pt x="1606" y="1693"/>
                    <a:pt x="1600" y="1710"/>
                    <a:pt x="1599" y="1721"/>
                  </a:cubicBezTo>
                  <a:cubicBezTo>
                    <a:pt x="1598" y="1731"/>
                    <a:pt x="1619" y="1740"/>
                    <a:pt x="1619" y="1740"/>
                  </a:cubicBezTo>
                  <a:cubicBezTo>
                    <a:pt x="1586" y="1742"/>
                    <a:pt x="1586" y="1742"/>
                    <a:pt x="1586" y="1742"/>
                  </a:cubicBezTo>
                  <a:cubicBezTo>
                    <a:pt x="1563" y="1764"/>
                    <a:pt x="1563" y="1764"/>
                    <a:pt x="1563" y="1764"/>
                  </a:cubicBezTo>
                  <a:cubicBezTo>
                    <a:pt x="1563" y="1764"/>
                    <a:pt x="1567" y="1784"/>
                    <a:pt x="1561" y="1791"/>
                  </a:cubicBezTo>
                  <a:cubicBezTo>
                    <a:pt x="1555" y="1798"/>
                    <a:pt x="1578" y="1805"/>
                    <a:pt x="1587" y="1810"/>
                  </a:cubicBezTo>
                  <a:cubicBezTo>
                    <a:pt x="1597" y="1814"/>
                    <a:pt x="1593" y="1835"/>
                    <a:pt x="1593" y="1835"/>
                  </a:cubicBezTo>
                  <a:cubicBezTo>
                    <a:pt x="1578" y="1821"/>
                    <a:pt x="1578" y="1821"/>
                    <a:pt x="1578" y="1821"/>
                  </a:cubicBezTo>
                  <a:cubicBezTo>
                    <a:pt x="1558" y="1823"/>
                    <a:pt x="1558" y="1823"/>
                    <a:pt x="1558" y="1823"/>
                  </a:cubicBezTo>
                  <a:cubicBezTo>
                    <a:pt x="1550" y="1835"/>
                    <a:pt x="1550" y="1835"/>
                    <a:pt x="1550" y="1835"/>
                  </a:cubicBezTo>
                  <a:cubicBezTo>
                    <a:pt x="1523" y="1814"/>
                    <a:pt x="1523" y="1814"/>
                    <a:pt x="1523" y="1814"/>
                  </a:cubicBezTo>
                  <a:cubicBezTo>
                    <a:pt x="1520" y="1835"/>
                    <a:pt x="1520" y="1835"/>
                    <a:pt x="1520" y="1835"/>
                  </a:cubicBezTo>
                  <a:cubicBezTo>
                    <a:pt x="1504" y="1840"/>
                    <a:pt x="1504" y="1840"/>
                    <a:pt x="1504" y="1840"/>
                  </a:cubicBezTo>
                  <a:cubicBezTo>
                    <a:pt x="1507" y="1858"/>
                    <a:pt x="1507" y="1858"/>
                    <a:pt x="1507" y="1858"/>
                  </a:cubicBezTo>
                  <a:cubicBezTo>
                    <a:pt x="1488" y="1855"/>
                    <a:pt x="1488" y="1855"/>
                    <a:pt x="1488" y="1855"/>
                  </a:cubicBezTo>
                  <a:cubicBezTo>
                    <a:pt x="1507" y="1811"/>
                    <a:pt x="1507" y="1811"/>
                    <a:pt x="1507" y="1811"/>
                  </a:cubicBezTo>
                  <a:cubicBezTo>
                    <a:pt x="1507" y="1811"/>
                    <a:pt x="1502" y="1805"/>
                    <a:pt x="1499" y="1794"/>
                  </a:cubicBezTo>
                  <a:cubicBezTo>
                    <a:pt x="1497" y="1782"/>
                    <a:pt x="1478" y="1784"/>
                    <a:pt x="1478" y="1784"/>
                  </a:cubicBezTo>
                  <a:cubicBezTo>
                    <a:pt x="1467" y="1766"/>
                    <a:pt x="1467" y="1766"/>
                    <a:pt x="1467" y="1766"/>
                  </a:cubicBezTo>
                  <a:cubicBezTo>
                    <a:pt x="1467" y="1766"/>
                    <a:pt x="1476" y="1746"/>
                    <a:pt x="1465" y="1738"/>
                  </a:cubicBezTo>
                  <a:cubicBezTo>
                    <a:pt x="1453" y="1730"/>
                    <a:pt x="1438" y="1741"/>
                    <a:pt x="1438" y="1748"/>
                  </a:cubicBezTo>
                  <a:cubicBezTo>
                    <a:pt x="1437" y="1755"/>
                    <a:pt x="1443" y="1755"/>
                    <a:pt x="1443" y="1755"/>
                  </a:cubicBezTo>
                  <a:cubicBezTo>
                    <a:pt x="1439" y="1764"/>
                    <a:pt x="1439" y="1764"/>
                    <a:pt x="1439" y="1764"/>
                  </a:cubicBezTo>
                  <a:cubicBezTo>
                    <a:pt x="1419" y="1763"/>
                    <a:pt x="1419" y="1763"/>
                    <a:pt x="1419" y="1763"/>
                  </a:cubicBezTo>
                  <a:cubicBezTo>
                    <a:pt x="1422" y="1781"/>
                    <a:pt x="1422" y="1781"/>
                    <a:pt x="1422" y="1781"/>
                  </a:cubicBezTo>
                  <a:cubicBezTo>
                    <a:pt x="1409" y="1775"/>
                    <a:pt x="1409" y="1775"/>
                    <a:pt x="1409" y="1775"/>
                  </a:cubicBezTo>
                  <a:cubicBezTo>
                    <a:pt x="1397" y="1780"/>
                    <a:pt x="1397" y="1780"/>
                    <a:pt x="1397" y="1780"/>
                  </a:cubicBezTo>
                  <a:cubicBezTo>
                    <a:pt x="1397" y="1780"/>
                    <a:pt x="1402" y="1788"/>
                    <a:pt x="1400" y="1798"/>
                  </a:cubicBezTo>
                  <a:cubicBezTo>
                    <a:pt x="1398" y="1809"/>
                    <a:pt x="1382" y="1817"/>
                    <a:pt x="1382" y="1817"/>
                  </a:cubicBezTo>
                  <a:cubicBezTo>
                    <a:pt x="1387" y="1793"/>
                    <a:pt x="1387" y="1793"/>
                    <a:pt x="1387" y="1793"/>
                  </a:cubicBezTo>
                  <a:cubicBezTo>
                    <a:pt x="1375" y="1808"/>
                    <a:pt x="1375" y="1808"/>
                    <a:pt x="1375" y="1808"/>
                  </a:cubicBezTo>
                  <a:cubicBezTo>
                    <a:pt x="1375" y="1808"/>
                    <a:pt x="1364" y="1806"/>
                    <a:pt x="1357" y="1816"/>
                  </a:cubicBezTo>
                  <a:cubicBezTo>
                    <a:pt x="1350" y="1826"/>
                    <a:pt x="1361" y="1847"/>
                    <a:pt x="1361" y="1847"/>
                  </a:cubicBezTo>
                  <a:cubicBezTo>
                    <a:pt x="1330" y="1834"/>
                    <a:pt x="1330" y="1834"/>
                    <a:pt x="1330" y="1834"/>
                  </a:cubicBezTo>
                  <a:cubicBezTo>
                    <a:pt x="1327" y="1858"/>
                    <a:pt x="1327" y="1858"/>
                    <a:pt x="1327" y="1858"/>
                  </a:cubicBezTo>
                  <a:cubicBezTo>
                    <a:pt x="1316" y="1860"/>
                    <a:pt x="1316" y="1860"/>
                    <a:pt x="1316" y="1860"/>
                  </a:cubicBezTo>
                  <a:cubicBezTo>
                    <a:pt x="1327" y="1877"/>
                    <a:pt x="1327" y="1877"/>
                    <a:pt x="1327" y="1877"/>
                  </a:cubicBezTo>
                  <a:cubicBezTo>
                    <a:pt x="1339" y="1876"/>
                    <a:pt x="1339" y="1876"/>
                    <a:pt x="1339" y="1876"/>
                  </a:cubicBezTo>
                  <a:cubicBezTo>
                    <a:pt x="1336" y="1887"/>
                    <a:pt x="1336" y="1887"/>
                    <a:pt x="1336" y="1887"/>
                  </a:cubicBezTo>
                  <a:cubicBezTo>
                    <a:pt x="1289" y="1891"/>
                    <a:pt x="1289" y="1891"/>
                    <a:pt x="1289" y="1891"/>
                  </a:cubicBezTo>
                  <a:cubicBezTo>
                    <a:pt x="1289" y="1891"/>
                    <a:pt x="1275" y="1881"/>
                    <a:pt x="1265" y="1889"/>
                  </a:cubicBezTo>
                  <a:cubicBezTo>
                    <a:pt x="1255" y="1898"/>
                    <a:pt x="1271" y="1916"/>
                    <a:pt x="1271" y="1916"/>
                  </a:cubicBezTo>
                  <a:cubicBezTo>
                    <a:pt x="1273" y="1938"/>
                    <a:pt x="1273" y="1938"/>
                    <a:pt x="1273" y="1938"/>
                  </a:cubicBezTo>
                  <a:cubicBezTo>
                    <a:pt x="1267" y="1952"/>
                    <a:pt x="1267" y="1952"/>
                    <a:pt x="1267" y="1952"/>
                  </a:cubicBezTo>
                  <a:cubicBezTo>
                    <a:pt x="1271" y="1978"/>
                    <a:pt x="1271" y="1978"/>
                    <a:pt x="1271" y="1978"/>
                  </a:cubicBezTo>
                  <a:cubicBezTo>
                    <a:pt x="1260" y="1979"/>
                    <a:pt x="1260" y="1979"/>
                    <a:pt x="1260" y="1979"/>
                  </a:cubicBezTo>
                  <a:cubicBezTo>
                    <a:pt x="1257" y="1927"/>
                    <a:pt x="1257" y="1927"/>
                    <a:pt x="1257" y="1927"/>
                  </a:cubicBezTo>
                  <a:cubicBezTo>
                    <a:pt x="1246" y="1916"/>
                    <a:pt x="1246" y="1916"/>
                    <a:pt x="1246" y="1916"/>
                  </a:cubicBezTo>
                  <a:cubicBezTo>
                    <a:pt x="1244" y="1895"/>
                    <a:pt x="1244" y="1895"/>
                    <a:pt x="1244" y="1895"/>
                  </a:cubicBezTo>
                  <a:cubicBezTo>
                    <a:pt x="1231" y="1896"/>
                    <a:pt x="1231" y="1896"/>
                    <a:pt x="1231" y="1896"/>
                  </a:cubicBezTo>
                  <a:cubicBezTo>
                    <a:pt x="1220" y="1911"/>
                    <a:pt x="1220" y="1911"/>
                    <a:pt x="1220" y="1911"/>
                  </a:cubicBezTo>
                  <a:cubicBezTo>
                    <a:pt x="1220" y="1911"/>
                    <a:pt x="1207" y="1923"/>
                    <a:pt x="1188" y="1939"/>
                  </a:cubicBezTo>
                  <a:cubicBezTo>
                    <a:pt x="1170" y="1955"/>
                    <a:pt x="1182" y="1988"/>
                    <a:pt x="1182" y="1988"/>
                  </a:cubicBezTo>
                  <a:cubicBezTo>
                    <a:pt x="1182" y="1988"/>
                    <a:pt x="1199" y="1993"/>
                    <a:pt x="1197" y="2002"/>
                  </a:cubicBezTo>
                  <a:cubicBezTo>
                    <a:pt x="1194" y="2012"/>
                    <a:pt x="1161" y="2024"/>
                    <a:pt x="1155" y="2027"/>
                  </a:cubicBezTo>
                  <a:cubicBezTo>
                    <a:pt x="1149" y="2030"/>
                    <a:pt x="1152" y="2040"/>
                    <a:pt x="1152" y="2040"/>
                  </a:cubicBezTo>
                  <a:cubicBezTo>
                    <a:pt x="1152" y="2040"/>
                    <a:pt x="1131" y="2059"/>
                    <a:pt x="1114" y="2073"/>
                  </a:cubicBezTo>
                  <a:cubicBezTo>
                    <a:pt x="1096" y="2086"/>
                    <a:pt x="1044" y="2091"/>
                    <a:pt x="1044" y="2091"/>
                  </a:cubicBezTo>
                  <a:cubicBezTo>
                    <a:pt x="1010" y="2084"/>
                    <a:pt x="1010" y="2084"/>
                    <a:pt x="1010" y="2084"/>
                  </a:cubicBezTo>
                  <a:cubicBezTo>
                    <a:pt x="983" y="2098"/>
                    <a:pt x="983" y="2098"/>
                    <a:pt x="983" y="2098"/>
                  </a:cubicBezTo>
                  <a:cubicBezTo>
                    <a:pt x="946" y="2103"/>
                    <a:pt x="946" y="2103"/>
                    <a:pt x="946" y="2103"/>
                  </a:cubicBezTo>
                  <a:cubicBezTo>
                    <a:pt x="941" y="2108"/>
                    <a:pt x="941" y="2108"/>
                    <a:pt x="941" y="2108"/>
                  </a:cubicBezTo>
                  <a:cubicBezTo>
                    <a:pt x="941" y="2108"/>
                    <a:pt x="931" y="2108"/>
                    <a:pt x="922" y="2113"/>
                  </a:cubicBezTo>
                  <a:cubicBezTo>
                    <a:pt x="913" y="2117"/>
                    <a:pt x="902" y="2128"/>
                    <a:pt x="902" y="2128"/>
                  </a:cubicBezTo>
                  <a:cubicBezTo>
                    <a:pt x="902" y="2128"/>
                    <a:pt x="883" y="2129"/>
                    <a:pt x="869" y="2133"/>
                  </a:cubicBezTo>
                  <a:cubicBezTo>
                    <a:pt x="855" y="2137"/>
                    <a:pt x="839" y="2166"/>
                    <a:pt x="839" y="2166"/>
                  </a:cubicBezTo>
                  <a:cubicBezTo>
                    <a:pt x="839" y="2166"/>
                    <a:pt x="804" y="2174"/>
                    <a:pt x="797" y="2178"/>
                  </a:cubicBezTo>
                  <a:cubicBezTo>
                    <a:pt x="789" y="2183"/>
                    <a:pt x="754" y="2228"/>
                    <a:pt x="754" y="2228"/>
                  </a:cubicBezTo>
                  <a:cubicBezTo>
                    <a:pt x="760" y="2184"/>
                    <a:pt x="760" y="2184"/>
                    <a:pt x="760" y="2184"/>
                  </a:cubicBezTo>
                  <a:cubicBezTo>
                    <a:pt x="748" y="2191"/>
                    <a:pt x="748" y="2191"/>
                    <a:pt x="748" y="2191"/>
                  </a:cubicBezTo>
                  <a:cubicBezTo>
                    <a:pt x="734" y="2228"/>
                    <a:pt x="734" y="2228"/>
                    <a:pt x="734" y="2228"/>
                  </a:cubicBezTo>
                  <a:cubicBezTo>
                    <a:pt x="734" y="2228"/>
                    <a:pt x="720" y="2254"/>
                    <a:pt x="713" y="2269"/>
                  </a:cubicBezTo>
                  <a:cubicBezTo>
                    <a:pt x="707" y="2284"/>
                    <a:pt x="730" y="2290"/>
                    <a:pt x="730" y="2290"/>
                  </a:cubicBezTo>
                  <a:cubicBezTo>
                    <a:pt x="730" y="2290"/>
                    <a:pt x="710" y="2311"/>
                    <a:pt x="700" y="2320"/>
                  </a:cubicBezTo>
                  <a:cubicBezTo>
                    <a:pt x="689" y="2329"/>
                    <a:pt x="709" y="2368"/>
                    <a:pt x="710" y="2374"/>
                  </a:cubicBezTo>
                  <a:cubicBezTo>
                    <a:pt x="710" y="2381"/>
                    <a:pt x="735" y="2424"/>
                    <a:pt x="729" y="2428"/>
                  </a:cubicBezTo>
                  <a:cubicBezTo>
                    <a:pt x="723" y="2433"/>
                    <a:pt x="699" y="2392"/>
                    <a:pt x="699" y="2392"/>
                  </a:cubicBezTo>
                  <a:cubicBezTo>
                    <a:pt x="687" y="2390"/>
                    <a:pt x="687" y="2390"/>
                    <a:pt x="687" y="2390"/>
                  </a:cubicBezTo>
                  <a:cubicBezTo>
                    <a:pt x="697" y="2420"/>
                    <a:pt x="697" y="2420"/>
                    <a:pt x="697" y="2420"/>
                  </a:cubicBezTo>
                  <a:cubicBezTo>
                    <a:pt x="674" y="2400"/>
                    <a:pt x="674" y="2400"/>
                    <a:pt x="674" y="2400"/>
                  </a:cubicBezTo>
                  <a:cubicBezTo>
                    <a:pt x="674" y="2400"/>
                    <a:pt x="670" y="2423"/>
                    <a:pt x="673" y="2437"/>
                  </a:cubicBezTo>
                  <a:cubicBezTo>
                    <a:pt x="676" y="2451"/>
                    <a:pt x="699" y="2486"/>
                    <a:pt x="699" y="2486"/>
                  </a:cubicBezTo>
                  <a:cubicBezTo>
                    <a:pt x="699" y="2486"/>
                    <a:pt x="688" y="2508"/>
                    <a:pt x="686" y="2516"/>
                  </a:cubicBezTo>
                  <a:cubicBezTo>
                    <a:pt x="684" y="2524"/>
                    <a:pt x="714" y="2547"/>
                    <a:pt x="715" y="2553"/>
                  </a:cubicBezTo>
                  <a:cubicBezTo>
                    <a:pt x="716" y="2560"/>
                    <a:pt x="717" y="2582"/>
                    <a:pt x="711" y="2590"/>
                  </a:cubicBezTo>
                  <a:cubicBezTo>
                    <a:pt x="706" y="2598"/>
                    <a:pt x="719" y="2644"/>
                    <a:pt x="719" y="2644"/>
                  </a:cubicBezTo>
                  <a:cubicBezTo>
                    <a:pt x="719" y="2644"/>
                    <a:pt x="715" y="2646"/>
                    <a:pt x="707" y="2652"/>
                  </a:cubicBezTo>
                  <a:cubicBezTo>
                    <a:pt x="700" y="2658"/>
                    <a:pt x="716" y="2694"/>
                    <a:pt x="716" y="2694"/>
                  </a:cubicBezTo>
                  <a:cubicBezTo>
                    <a:pt x="716" y="2694"/>
                    <a:pt x="736" y="2703"/>
                    <a:pt x="738" y="2720"/>
                  </a:cubicBezTo>
                  <a:cubicBezTo>
                    <a:pt x="740" y="2736"/>
                    <a:pt x="711" y="2765"/>
                    <a:pt x="711" y="2765"/>
                  </a:cubicBezTo>
                  <a:cubicBezTo>
                    <a:pt x="711" y="2765"/>
                    <a:pt x="720" y="2798"/>
                    <a:pt x="703" y="2815"/>
                  </a:cubicBezTo>
                  <a:cubicBezTo>
                    <a:pt x="686" y="2831"/>
                    <a:pt x="655" y="2823"/>
                    <a:pt x="655" y="2823"/>
                  </a:cubicBezTo>
                  <a:cubicBezTo>
                    <a:pt x="651" y="2855"/>
                    <a:pt x="651" y="2855"/>
                    <a:pt x="651" y="2855"/>
                  </a:cubicBezTo>
                  <a:cubicBezTo>
                    <a:pt x="651" y="2855"/>
                    <a:pt x="683" y="2863"/>
                    <a:pt x="692" y="2868"/>
                  </a:cubicBezTo>
                  <a:cubicBezTo>
                    <a:pt x="701" y="2874"/>
                    <a:pt x="707" y="2884"/>
                    <a:pt x="707" y="2884"/>
                  </a:cubicBezTo>
                  <a:cubicBezTo>
                    <a:pt x="724" y="2882"/>
                    <a:pt x="724" y="2882"/>
                    <a:pt x="724" y="2882"/>
                  </a:cubicBezTo>
                  <a:cubicBezTo>
                    <a:pt x="724" y="2882"/>
                    <a:pt x="733" y="2891"/>
                    <a:pt x="747" y="2896"/>
                  </a:cubicBezTo>
                  <a:cubicBezTo>
                    <a:pt x="760" y="2901"/>
                    <a:pt x="791" y="2891"/>
                    <a:pt x="804" y="2890"/>
                  </a:cubicBezTo>
                  <a:cubicBezTo>
                    <a:pt x="816" y="2890"/>
                    <a:pt x="806" y="2874"/>
                    <a:pt x="806" y="2874"/>
                  </a:cubicBezTo>
                  <a:cubicBezTo>
                    <a:pt x="831" y="2876"/>
                    <a:pt x="831" y="2876"/>
                    <a:pt x="831" y="2876"/>
                  </a:cubicBezTo>
                  <a:cubicBezTo>
                    <a:pt x="837" y="2864"/>
                    <a:pt x="837" y="2864"/>
                    <a:pt x="837" y="2864"/>
                  </a:cubicBezTo>
                  <a:cubicBezTo>
                    <a:pt x="864" y="2860"/>
                    <a:pt x="864" y="2860"/>
                    <a:pt x="864" y="2860"/>
                  </a:cubicBezTo>
                  <a:cubicBezTo>
                    <a:pt x="864" y="2860"/>
                    <a:pt x="888" y="2835"/>
                    <a:pt x="901" y="2834"/>
                  </a:cubicBezTo>
                  <a:cubicBezTo>
                    <a:pt x="913" y="2834"/>
                    <a:pt x="925" y="2849"/>
                    <a:pt x="932" y="2847"/>
                  </a:cubicBezTo>
                  <a:cubicBezTo>
                    <a:pt x="940" y="2845"/>
                    <a:pt x="977" y="2827"/>
                    <a:pt x="977" y="2827"/>
                  </a:cubicBezTo>
                  <a:cubicBezTo>
                    <a:pt x="977" y="2827"/>
                    <a:pt x="999" y="2837"/>
                    <a:pt x="1010" y="2835"/>
                  </a:cubicBezTo>
                  <a:cubicBezTo>
                    <a:pt x="1021" y="2834"/>
                    <a:pt x="1028" y="2824"/>
                    <a:pt x="1035" y="2823"/>
                  </a:cubicBezTo>
                  <a:cubicBezTo>
                    <a:pt x="1043" y="2823"/>
                    <a:pt x="1062" y="2835"/>
                    <a:pt x="1077" y="2832"/>
                  </a:cubicBezTo>
                  <a:cubicBezTo>
                    <a:pt x="1092" y="2829"/>
                    <a:pt x="1089" y="2810"/>
                    <a:pt x="1089" y="2810"/>
                  </a:cubicBezTo>
                  <a:cubicBezTo>
                    <a:pt x="1089" y="2810"/>
                    <a:pt x="1101" y="2807"/>
                    <a:pt x="1105" y="2804"/>
                  </a:cubicBezTo>
                  <a:cubicBezTo>
                    <a:pt x="1110" y="2801"/>
                    <a:pt x="1116" y="2774"/>
                    <a:pt x="1129" y="2762"/>
                  </a:cubicBezTo>
                  <a:cubicBezTo>
                    <a:pt x="1142" y="2750"/>
                    <a:pt x="1175" y="2758"/>
                    <a:pt x="1186" y="2755"/>
                  </a:cubicBezTo>
                  <a:cubicBezTo>
                    <a:pt x="1196" y="2753"/>
                    <a:pt x="1230" y="2734"/>
                    <a:pt x="1245" y="2732"/>
                  </a:cubicBezTo>
                  <a:cubicBezTo>
                    <a:pt x="1261" y="2730"/>
                    <a:pt x="1263" y="2737"/>
                    <a:pt x="1282" y="2740"/>
                  </a:cubicBezTo>
                  <a:cubicBezTo>
                    <a:pt x="1301" y="2743"/>
                    <a:pt x="1348" y="2710"/>
                    <a:pt x="1367" y="2704"/>
                  </a:cubicBezTo>
                  <a:cubicBezTo>
                    <a:pt x="1387" y="2698"/>
                    <a:pt x="1470" y="2692"/>
                    <a:pt x="1470" y="2692"/>
                  </a:cubicBezTo>
                  <a:cubicBezTo>
                    <a:pt x="1477" y="2685"/>
                    <a:pt x="1477" y="2685"/>
                    <a:pt x="1477" y="2685"/>
                  </a:cubicBezTo>
                  <a:cubicBezTo>
                    <a:pt x="1477" y="2685"/>
                    <a:pt x="1505" y="2710"/>
                    <a:pt x="1523" y="2717"/>
                  </a:cubicBezTo>
                  <a:cubicBezTo>
                    <a:pt x="1540" y="2724"/>
                    <a:pt x="1547" y="2715"/>
                    <a:pt x="1547" y="2715"/>
                  </a:cubicBezTo>
                  <a:cubicBezTo>
                    <a:pt x="1547" y="2715"/>
                    <a:pt x="1550" y="2732"/>
                    <a:pt x="1558" y="2735"/>
                  </a:cubicBezTo>
                  <a:cubicBezTo>
                    <a:pt x="1566" y="2738"/>
                    <a:pt x="1571" y="2731"/>
                    <a:pt x="1571" y="2731"/>
                  </a:cubicBezTo>
                  <a:cubicBezTo>
                    <a:pt x="1574" y="2746"/>
                    <a:pt x="1574" y="2746"/>
                    <a:pt x="1574" y="2746"/>
                  </a:cubicBezTo>
                  <a:cubicBezTo>
                    <a:pt x="1574" y="2746"/>
                    <a:pt x="1586" y="2744"/>
                    <a:pt x="1587" y="2753"/>
                  </a:cubicBezTo>
                  <a:cubicBezTo>
                    <a:pt x="1588" y="2761"/>
                    <a:pt x="1569" y="2785"/>
                    <a:pt x="1569" y="2785"/>
                  </a:cubicBezTo>
                  <a:cubicBezTo>
                    <a:pt x="1583" y="2804"/>
                    <a:pt x="1583" y="2804"/>
                    <a:pt x="1583" y="2804"/>
                  </a:cubicBezTo>
                  <a:cubicBezTo>
                    <a:pt x="1592" y="2795"/>
                    <a:pt x="1592" y="2795"/>
                    <a:pt x="1592" y="2795"/>
                  </a:cubicBezTo>
                  <a:cubicBezTo>
                    <a:pt x="1605" y="2822"/>
                    <a:pt x="1605" y="2822"/>
                    <a:pt x="1605" y="2822"/>
                  </a:cubicBezTo>
                  <a:cubicBezTo>
                    <a:pt x="1605" y="2822"/>
                    <a:pt x="1614" y="2849"/>
                    <a:pt x="1615" y="2858"/>
                  </a:cubicBezTo>
                  <a:cubicBezTo>
                    <a:pt x="1616" y="2866"/>
                    <a:pt x="1588" y="2859"/>
                    <a:pt x="1588" y="2859"/>
                  </a:cubicBezTo>
                  <a:cubicBezTo>
                    <a:pt x="1595" y="2882"/>
                    <a:pt x="1595" y="2882"/>
                    <a:pt x="1595" y="2882"/>
                  </a:cubicBezTo>
                  <a:cubicBezTo>
                    <a:pt x="1595" y="2882"/>
                    <a:pt x="1604" y="2882"/>
                    <a:pt x="1613" y="2883"/>
                  </a:cubicBezTo>
                  <a:cubicBezTo>
                    <a:pt x="1622" y="2883"/>
                    <a:pt x="1621" y="2890"/>
                    <a:pt x="1621" y="2890"/>
                  </a:cubicBezTo>
                  <a:cubicBezTo>
                    <a:pt x="1634" y="2887"/>
                    <a:pt x="1634" y="2887"/>
                    <a:pt x="1634" y="2887"/>
                  </a:cubicBezTo>
                  <a:cubicBezTo>
                    <a:pt x="1634" y="2887"/>
                    <a:pt x="1630" y="2873"/>
                    <a:pt x="1630" y="2862"/>
                  </a:cubicBezTo>
                  <a:cubicBezTo>
                    <a:pt x="1631" y="2851"/>
                    <a:pt x="1649" y="2842"/>
                    <a:pt x="1661" y="2840"/>
                  </a:cubicBezTo>
                  <a:cubicBezTo>
                    <a:pt x="1673" y="2837"/>
                    <a:pt x="1696" y="2801"/>
                    <a:pt x="1696" y="2801"/>
                  </a:cubicBezTo>
                  <a:cubicBezTo>
                    <a:pt x="1711" y="2803"/>
                    <a:pt x="1711" y="2803"/>
                    <a:pt x="1711" y="2803"/>
                  </a:cubicBezTo>
                  <a:cubicBezTo>
                    <a:pt x="1725" y="2770"/>
                    <a:pt x="1725" y="2770"/>
                    <a:pt x="1725" y="2770"/>
                  </a:cubicBezTo>
                  <a:cubicBezTo>
                    <a:pt x="1725" y="2770"/>
                    <a:pt x="1744" y="2767"/>
                    <a:pt x="1753" y="2766"/>
                  </a:cubicBezTo>
                  <a:cubicBezTo>
                    <a:pt x="1761" y="2765"/>
                    <a:pt x="1766" y="2735"/>
                    <a:pt x="1766" y="2735"/>
                  </a:cubicBezTo>
                  <a:cubicBezTo>
                    <a:pt x="1766" y="2735"/>
                    <a:pt x="1771" y="2759"/>
                    <a:pt x="1772" y="2766"/>
                  </a:cubicBezTo>
                  <a:cubicBezTo>
                    <a:pt x="1773" y="2774"/>
                    <a:pt x="1744" y="2788"/>
                    <a:pt x="1744" y="2788"/>
                  </a:cubicBezTo>
                  <a:cubicBezTo>
                    <a:pt x="1734" y="2789"/>
                    <a:pt x="1734" y="2789"/>
                    <a:pt x="1734" y="2789"/>
                  </a:cubicBezTo>
                  <a:cubicBezTo>
                    <a:pt x="1729" y="2796"/>
                    <a:pt x="1729" y="2796"/>
                    <a:pt x="1729" y="2796"/>
                  </a:cubicBezTo>
                  <a:cubicBezTo>
                    <a:pt x="1740" y="2819"/>
                    <a:pt x="1740" y="2819"/>
                    <a:pt x="1740" y="2819"/>
                  </a:cubicBezTo>
                  <a:cubicBezTo>
                    <a:pt x="1740" y="2819"/>
                    <a:pt x="1730" y="2823"/>
                    <a:pt x="1723" y="2827"/>
                  </a:cubicBezTo>
                  <a:cubicBezTo>
                    <a:pt x="1716" y="2832"/>
                    <a:pt x="1698" y="2855"/>
                    <a:pt x="1698" y="2855"/>
                  </a:cubicBezTo>
                  <a:cubicBezTo>
                    <a:pt x="1698" y="2855"/>
                    <a:pt x="1693" y="2874"/>
                    <a:pt x="1686" y="2878"/>
                  </a:cubicBezTo>
                  <a:cubicBezTo>
                    <a:pt x="1679" y="2883"/>
                    <a:pt x="1655" y="2892"/>
                    <a:pt x="1662" y="2898"/>
                  </a:cubicBezTo>
                  <a:cubicBezTo>
                    <a:pt x="1669" y="2905"/>
                    <a:pt x="1696" y="2895"/>
                    <a:pt x="1705" y="2892"/>
                  </a:cubicBezTo>
                  <a:cubicBezTo>
                    <a:pt x="1713" y="2888"/>
                    <a:pt x="1714" y="2875"/>
                    <a:pt x="1720" y="2866"/>
                  </a:cubicBezTo>
                  <a:cubicBezTo>
                    <a:pt x="1727" y="2856"/>
                    <a:pt x="1741" y="2846"/>
                    <a:pt x="1741" y="2846"/>
                  </a:cubicBezTo>
                  <a:cubicBezTo>
                    <a:pt x="1741" y="2846"/>
                    <a:pt x="1744" y="2871"/>
                    <a:pt x="1746" y="2877"/>
                  </a:cubicBezTo>
                  <a:cubicBezTo>
                    <a:pt x="1748" y="2883"/>
                    <a:pt x="1735" y="2894"/>
                    <a:pt x="1726" y="2899"/>
                  </a:cubicBezTo>
                  <a:cubicBezTo>
                    <a:pt x="1718" y="2904"/>
                    <a:pt x="1717" y="2912"/>
                    <a:pt x="1723" y="2918"/>
                  </a:cubicBezTo>
                  <a:cubicBezTo>
                    <a:pt x="1730" y="2923"/>
                    <a:pt x="1761" y="2923"/>
                    <a:pt x="1761" y="2923"/>
                  </a:cubicBezTo>
                  <a:cubicBezTo>
                    <a:pt x="1766" y="2930"/>
                    <a:pt x="1766" y="2930"/>
                    <a:pt x="1766" y="2930"/>
                  </a:cubicBezTo>
                  <a:cubicBezTo>
                    <a:pt x="1751" y="2943"/>
                    <a:pt x="1751" y="2943"/>
                    <a:pt x="1751" y="2943"/>
                  </a:cubicBezTo>
                  <a:cubicBezTo>
                    <a:pt x="1751" y="2943"/>
                    <a:pt x="1767" y="2972"/>
                    <a:pt x="1769" y="2982"/>
                  </a:cubicBezTo>
                  <a:cubicBezTo>
                    <a:pt x="1772" y="2993"/>
                    <a:pt x="1748" y="3009"/>
                    <a:pt x="1739" y="3020"/>
                  </a:cubicBezTo>
                  <a:cubicBezTo>
                    <a:pt x="1729" y="3031"/>
                    <a:pt x="1761" y="3053"/>
                    <a:pt x="1769" y="3056"/>
                  </a:cubicBezTo>
                  <a:cubicBezTo>
                    <a:pt x="1776" y="3059"/>
                    <a:pt x="1790" y="3079"/>
                    <a:pt x="1805" y="3084"/>
                  </a:cubicBezTo>
                  <a:cubicBezTo>
                    <a:pt x="1820" y="3089"/>
                    <a:pt x="1831" y="3080"/>
                    <a:pt x="1845" y="3083"/>
                  </a:cubicBezTo>
                  <a:cubicBezTo>
                    <a:pt x="1858" y="3086"/>
                    <a:pt x="1861" y="3103"/>
                    <a:pt x="1880" y="3106"/>
                  </a:cubicBezTo>
                  <a:cubicBezTo>
                    <a:pt x="1900" y="3110"/>
                    <a:pt x="1948" y="3077"/>
                    <a:pt x="1948" y="3077"/>
                  </a:cubicBezTo>
                  <a:cubicBezTo>
                    <a:pt x="1948" y="3077"/>
                    <a:pt x="1941" y="3063"/>
                    <a:pt x="1956" y="3054"/>
                  </a:cubicBezTo>
                  <a:cubicBezTo>
                    <a:pt x="1971" y="3045"/>
                    <a:pt x="1970" y="3081"/>
                    <a:pt x="1970" y="3081"/>
                  </a:cubicBezTo>
                  <a:cubicBezTo>
                    <a:pt x="1981" y="3080"/>
                    <a:pt x="1981" y="3080"/>
                    <a:pt x="1981" y="3080"/>
                  </a:cubicBezTo>
                  <a:cubicBezTo>
                    <a:pt x="1971" y="3096"/>
                    <a:pt x="1971" y="3096"/>
                    <a:pt x="1971" y="3096"/>
                  </a:cubicBezTo>
                  <a:cubicBezTo>
                    <a:pt x="1984" y="3097"/>
                    <a:pt x="1984" y="3097"/>
                    <a:pt x="1984" y="3097"/>
                  </a:cubicBezTo>
                  <a:cubicBezTo>
                    <a:pt x="1984" y="3097"/>
                    <a:pt x="1985" y="3109"/>
                    <a:pt x="1992" y="3118"/>
                  </a:cubicBezTo>
                  <a:cubicBezTo>
                    <a:pt x="1998" y="3126"/>
                    <a:pt x="2005" y="3122"/>
                    <a:pt x="2005" y="3122"/>
                  </a:cubicBezTo>
                  <a:cubicBezTo>
                    <a:pt x="2011" y="3111"/>
                    <a:pt x="2011" y="3111"/>
                    <a:pt x="2011" y="3111"/>
                  </a:cubicBezTo>
                  <a:cubicBezTo>
                    <a:pt x="2011" y="3111"/>
                    <a:pt x="2029" y="3109"/>
                    <a:pt x="2039" y="3100"/>
                  </a:cubicBezTo>
                  <a:cubicBezTo>
                    <a:pt x="2050" y="3092"/>
                    <a:pt x="2094" y="3061"/>
                    <a:pt x="2094" y="3061"/>
                  </a:cubicBezTo>
                  <a:cubicBezTo>
                    <a:pt x="2089" y="3051"/>
                    <a:pt x="2089" y="3051"/>
                    <a:pt x="2089" y="3051"/>
                  </a:cubicBezTo>
                  <a:cubicBezTo>
                    <a:pt x="2113" y="3047"/>
                    <a:pt x="2113" y="3047"/>
                    <a:pt x="2113" y="3047"/>
                  </a:cubicBezTo>
                  <a:cubicBezTo>
                    <a:pt x="2122" y="3055"/>
                    <a:pt x="2122" y="3055"/>
                    <a:pt x="2122" y="3055"/>
                  </a:cubicBezTo>
                  <a:cubicBezTo>
                    <a:pt x="2122" y="3055"/>
                    <a:pt x="2161" y="3048"/>
                    <a:pt x="2184" y="3040"/>
                  </a:cubicBezTo>
                  <a:cubicBezTo>
                    <a:pt x="2206" y="3031"/>
                    <a:pt x="2208" y="2987"/>
                    <a:pt x="2211" y="2975"/>
                  </a:cubicBezTo>
                  <a:cubicBezTo>
                    <a:pt x="2215" y="2964"/>
                    <a:pt x="2241" y="2949"/>
                    <a:pt x="2241" y="2949"/>
                  </a:cubicBezTo>
                  <a:cubicBezTo>
                    <a:pt x="2241" y="2934"/>
                    <a:pt x="2241" y="2934"/>
                    <a:pt x="2241" y="2934"/>
                  </a:cubicBezTo>
                  <a:cubicBezTo>
                    <a:pt x="2241" y="2934"/>
                    <a:pt x="2256" y="2928"/>
                    <a:pt x="2264" y="2917"/>
                  </a:cubicBezTo>
                  <a:cubicBezTo>
                    <a:pt x="2271" y="2907"/>
                    <a:pt x="2282" y="2893"/>
                    <a:pt x="2282" y="2893"/>
                  </a:cubicBezTo>
                  <a:cubicBezTo>
                    <a:pt x="2282" y="2893"/>
                    <a:pt x="2284" y="2864"/>
                    <a:pt x="2292" y="2854"/>
                  </a:cubicBezTo>
                  <a:cubicBezTo>
                    <a:pt x="2299" y="2845"/>
                    <a:pt x="2333" y="2807"/>
                    <a:pt x="2346" y="2801"/>
                  </a:cubicBezTo>
                  <a:cubicBezTo>
                    <a:pt x="2358" y="2795"/>
                    <a:pt x="2360" y="2764"/>
                    <a:pt x="2360" y="2764"/>
                  </a:cubicBezTo>
                  <a:cubicBezTo>
                    <a:pt x="2360" y="2764"/>
                    <a:pt x="2383" y="2768"/>
                    <a:pt x="2392" y="2758"/>
                  </a:cubicBezTo>
                  <a:cubicBezTo>
                    <a:pt x="2401" y="2749"/>
                    <a:pt x="2448" y="2690"/>
                    <a:pt x="2451" y="2683"/>
                  </a:cubicBezTo>
                  <a:cubicBezTo>
                    <a:pt x="2455" y="2677"/>
                    <a:pt x="2454" y="2646"/>
                    <a:pt x="2464" y="2639"/>
                  </a:cubicBezTo>
                  <a:cubicBezTo>
                    <a:pt x="2473" y="2632"/>
                    <a:pt x="2515" y="2550"/>
                    <a:pt x="2525" y="2531"/>
                  </a:cubicBezTo>
                  <a:cubicBezTo>
                    <a:pt x="2535" y="2512"/>
                    <a:pt x="2523" y="2499"/>
                    <a:pt x="2522" y="2486"/>
                  </a:cubicBezTo>
                  <a:cubicBezTo>
                    <a:pt x="2521" y="2473"/>
                    <a:pt x="2531" y="2452"/>
                    <a:pt x="2540" y="2438"/>
                  </a:cubicBezTo>
                  <a:cubicBezTo>
                    <a:pt x="2549" y="2424"/>
                    <a:pt x="2539" y="2362"/>
                    <a:pt x="2539" y="2362"/>
                  </a:cubicBezTo>
                  <a:lnTo>
                    <a:pt x="2520" y="2353"/>
                  </a:lnTo>
                  <a:close/>
                  <a:moveTo>
                    <a:pt x="2008" y="3176"/>
                  </a:moveTo>
                  <a:cubicBezTo>
                    <a:pt x="1996" y="3151"/>
                    <a:pt x="1996" y="3151"/>
                    <a:pt x="1996" y="3151"/>
                  </a:cubicBezTo>
                  <a:cubicBezTo>
                    <a:pt x="1996" y="3151"/>
                    <a:pt x="1984" y="3158"/>
                    <a:pt x="1983" y="3166"/>
                  </a:cubicBezTo>
                  <a:cubicBezTo>
                    <a:pt x="1983" y="3173"/>
                    <a:pt x="1985" y="3176"/>
                    <a:pt x="1994" y="3179"/>
                  </a:cubicBezTo>
                  <a:cubicBezTo>
                    <a:pt x="2003" y="3182"/>
                    <a:pt x="2008" y="3176"/>
                    <a:pt x="2008" y="3176"/>
                  </a:cubicBezTo>
                  <a:close/>
                  <a:moveTo>
                    <a:pt x="1637" y="2920"/>
                  </a:moveTo>
                  <a:cubicBezTo>
                    <a:pt x="1623" y="2922"/>
                    <a:pt x="1605" y="2927"/>
                    <a:pt x="1612" y="2933"/>
                  </a:cubicBezTo>
                  <a:cubicBezTo>
                    <a:pt x="1619" y="2939"/>
                    <a:pt x="1622" y="2946"/>
                    <a:pt x="1622" y="2946"/>
                  </a:cubicBezTo>
                  <a:cubicBezTo>
                    <a:pt x="1636" y="2946"/>
                    <a:pt x="1650" y="2938"/>
                    <a:pt x="1650" y="2938"/>
                  </a:cubicBezTo>
                  <a:cubicBezTo>
                    <a:pt x="1658" y="2938"/>
                    <a:pt x="1658" y="2938"/>
                    <a:pt x="1658" y="2938"/>
                  </a:cubicBezTo>
                  <a:cubicBezTo>
                    <a:pt x="1662" y="2935"/>
                    <a:pt x="1662" y="2935"/>
                    <a:pt x="1662" y="2935"/>
                  </a:cubicBezTo>
                  <a:cubicBezTo>
                    <a:pt x="1673" y="2935"/>
                    <a:pt x="1673" y="2935"/>
                    <a:pt x="1673" y="2935"/>
                  </a:cubicBezTo>
                  <a:cubicBezTo>
                    <a:pt x="1677" y="2930"/>
                    <a:pt x="1677" y="2930"/>
                    <a:pt x="1677" y="2930"/>
                  </a:cubicBezTo>
                  <a:cubicBezTo>
                    <a:pt x="1659" y="2928"/>
                    <a:pt x="1659" y="2928"/>
                    <a:pt x="1659" y="2928"/>
                  </a:cubicBezTo>
                  <a:cubicBezTo>
                    <a:pt x="1659" y="2928"/>
                    <a:pt x="1651" y="2919"/>
                    <a:pt x="1637" y="2920"/>
                  </a:cubicBezTo>
                  <a:close/>
                  <a:moveTo>
                    <a:pt x="1650" y="1644"/>
                  </a:moveTo>
                  <a:cubicBezTo>
                    <a:pt x="1659" y="1654"/>
                    <a:pt x="1675" y="1622"/>
                    <a:pt x="1675" y="1622"/>
                  </a:cubicBezTo>
                  <a:cubicBezTo>
                    <a:pt x="1665" y="1608"/>
                    <a:pt x="1641" y="1633"/>
                    <a:pt x="1650" y="1644"/>
                  </a:cubicBezTo>
                  <a:close/>
                  <a:moveTo>
                    <a:pt x="1983" y="3211"/>
                  </a:moveTo>
                  <a:cubicBezTo>
                    <a:pt x="1974" y="3205"/>
                    <a:pt x="1963" y="3225"/>
                    <a:pt x="1963" y="3225"/>
                  </a:cubicBezTo>
                  <a:cubicBezTo>
                    <a:pt x="1963" y="3225"/>
                    <a:pt x="1959" y="3219"/>
                    <a:pt x="1955" y="3219"/>
                  </a:cubicBezTo>
                  <a:cubicBezTo>
                    <a:pt x="1951" y="3218"/>
                    <a:pt x="1928" y="3222"/>
                    <a:pt x="1928" y="3222"/>
                  </a:cubicBezTo>
                  <a:cubicBezTo>
                    <a:pt x="1925" y="3230"/>
                    <a:pt x="1925" y="3230"/>
                    <a:pt x="1925" y="3230"/>
                  </a:cubicBezTo>
                  <a:cubicBezTo>
                    <a:pt x="1912" y="3219"/>
                    <a:pt x="1912" y="3219"/>
                    <a:pt x="1912" y="3219"/>
                  </a:cubicBezTo>
                  <a:cubicBezTo>
                    <a:pt x="1887" y="3217"/>
                    <a:pt x="1887" y="3217"/>
                    <a:pt x="1887" y="3217"/>
                  </a:cubicBezTo>
                  <a:cubicBezTo>
                    <a:pt x="1872" y="3199"/>
                    <a:pt x="1872" y="3199"/>
                    <a:pt x="1872" y="3199"/>
                  </a:cubicBezTo>
                  <a:cubicBezTo>
                    <a:pt x="1872" y="3199"/>
                    <a:pt x="1867" y="3202"/>
                    <a:pt x="1861" y="3203"/>
                  </a:cubicBezTo>
                  <a:cubicBezTo>
                    <a:pt x="1856" y="3204"/>
                    <a:pt x="1839" y="3184"/>
                    <a:pt x="1839" y="3184"/>
                  </a:cubicBezTo>
                  <a:cubicBezTo>
                    <a:pt x="1835" y="3195"/>
                    <a:pt x="1835" y="3195"/>
                    <a:pt x="1835" y="3195"/>
                  </a:cubicBezTo>
                  <a:cubicBezTo>
                    <a:pt x="1839" y="3208"/>
                    <a:pt x="1839" y="3208"/>
                    <a:pt x="1839" y="3208"/>
                  </a:cubicBezTo>
                  <a:cubicBezTo>
                    <a:pt x="1839" y="3208"/>
                    <a:pt x="1840" y="3224"/>
                    <a:pt x="1838" y="3229"/>
                  </a:cubicBezTo>
                  <a:cubicBezTo>
                    <a:pt x="1836" y="3234"/>
                    <a:pt x="1830" y="3242"/>
                    <a:pt x="1836" y="3253"/>
                  </a:cubicBezTo>
                  <a:cubicBezTo>
                    <a:pt x="1842" y="3264"/>
                    <a:pt x="1835" y="3270"/>
                    <a:pt x="1827" y="3273"/>
                  </a:cubicBezTo>
                  <a:cubicBezTo>
                    <a:pt x="1818" y="3275"/>
                    <a:pt x="1811" y="3265"/>
                    <a:pt x="1811" y="3265"/>
                  </a:cubicBezTo>
                  <a:cubicBezTo>
                    <a:pt x="1811" y="3265"/>
                    <a:pt x="1807" y="3279"/>
                    <a:pt x="1806" y="3292"/>
                  </a:cubicBezTo>
                  <a:cubicBezTo>
                    <a:pt x="1805" y="3306"/>
                    <a:pt x="1817" y="3327"/>
                    <a:pt x="1817" y="3327"/>
                  </a:cubicBezTo>
                  <a:cubicBezTo>
                    <a:pt x="1832" y="3329"/>
                    <a:pt x="1832" y="3329"/>
                    <a:pt x="1832" y="3329"/>
                  </a:cubicBezTo>
                  <a:cubicBezTo>
                    <a:pt x="1819" y="3336"/>
                    <a:pt x="1819" y="3336"/>
                    <a:pt x="1819" y="3336"/>
                  </a:cubicBezTo>
                  <a:cubicBezTo>
                    <a:pt x="1824" y="3353"/>
                    <a:pt x="1824" y="3353"/>
                    <a:pt x="1824" y="3353"/>
                  </a:cubicBezTo>
                  <a:cubicBezTo>
                    <a:pt x="1824" y="3353"/>
                    <a:pt x="1836" y="3348"/>
                    <a:pt x="1842" y="3345"/>
                  </a:cubicBezTo>
                  <a:cubicBezTo>
                    <a:pt x="1849" y="3342"/>
                    <a:pt x="1854" y="3352"/>
                    <a:pt x="1865" y="3348"/>
                  </a:cubicBezTo>
                  <a:cubicBezTo>
                    <a:pt x="1876" y="3343"/>
                    <a:pt x="1883" y="3327"/>
                    <a:pt x="1890" y="3331"/>
                  </a:cubicBezTo>
                  <a:cubicBezTo>
                    <a:pt x="1898" y="3336"/>
                    <a:pt x="1887" y="3347"/>
                    <a:pt x="1887" y="3347"/>
                  </a:cubicBezTo>
                  <a:cubicBezTo>
                    <a:pt x="1898" y="3351"/>
                    <a:pt x="1898" y="3351"/>
                    <a:pt x="1898" y="3351"/>
                  </a:cubicBezTo>
                  <a:cubicBezTo>
                    <a:pt x="1898" y="3351"/>
                    <a:pt x="1919" y="3323"/>
                    <a:pt x="1928" y="3317"/>
                  </a:cubicBezTo>
                  <a:cubicBezTo>
                    <a:pt x="1936" y="3312"/>
                    <a:pt x="1919" y="3305"/>
                    <a:pt x="1919" y="3305"/>
                  </a:cubicBezTo>
                  <a:cubicBezTo>
                    <a:pt x="1933" y="3285"/>
                    <a:pt x="1933" y="3285"/>
                    <a:pt x="1933" y="3285"/>
                  </a:cubicBezTo>
                  <a:cubicBezTo>
                    <a:pt x="1933" y="3285"/>
                    <a:pt x="1943" y="3289"/>
                    <a:pt x="1954" y="3283"/>
                  </a:cubicBezTo>
                  <a:cubicBezTo>
                    <a:pt x="1965" y="3278"/>
                    <a:pt x="1956" y="3257"/>
                    <a:pt x="1966" y="3246"/>
                  </a:cubicBezTo>
                  <a:cubicBezTo>
                    <a:pt x="1977" y="3235"/>
                    <a:pt x="1991" y="3217"/>
                    <a:pt x="1983" y="3211"/>
                  </a:cubicBezTo>
                  <a:close/>
                  <a:moveTo>
                    <a:pt x="1833" y="3133"/>
                  </a:moveTo>
                  <a:cubicBezTo>
                    <a:pt x="1826" y="3160"/>
                    <a:pt x="1826" y="3160"/>
                    <a:pt x="1826" y="3160"/>
                  </a:cubicBezTo>
                  <a:cubicBezTo>
                    <a:pt x="1860" y="3128"/>
                    <a:pt x="1860" y="3128"/>
                    <a:pt x="1860" y="3128"/>
                  </a:cubicBezTo>
                  <a:lnTo>
                    <a:pt x="1833" y="3133"/>
                  </a:lnTo>
                  <a:close/>
                  <a:moveTo>
                    <a:pt x="1998" y="3203"/>
                  </a:moveTo>
                  <a:cubicBezTo>
                    <a:pt x="2000" y="3210"/>
                    <a:pt x="2024" y="3198"/>
                    <a:pt x="2015" y="3191"/>
                  </a:cubicBezTo>
                  <a:cubicBezTo>
                    <a:pt x="2006" y="3184"/>
                    <a:pt x="1998" y="3203"/>
                    <a:pt x="1998" y="3203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7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6401971" y="1065058"/>
              <a:ext cx="4233079" cy="2752486"/>
            </a:xfrm>
            <a:custGeom>
              <a:avLst/>
              <a:gdLst>
                <a:gd name="T0" fmla="*/ 2147483647 w 5774"/>
                <a:gd name="T1" fmla="*/ 2147483647 h 4063"/>
                <a:gd name="T2" fmla="*/ 2147483647 w 5774"/>
                <a:gd name="T3" fmla="*/ 2147483647 h 4063"/>
                <a:gd name="T4" fmla="*/ 2147483647 w 5774"/>
                <a:gd name="T5" fmla="*/ 2147483647 h 4063"/>
                <a:gd name="T6" fmla="*/ 2147483647 w 5774"/>
                <a:gd name="T7" fmla="*/ 2147483647 h 4063"/>
                <a:gd name="T8" fmla="*/ 2147483647 w 5774"/>
                <a:gd name="T9" fmla="*/ 2147483647 h 4063"/>
                <a:gd name="T10" fmla="*/ 2147483647 w 5774"/>
                <a:gd name="T11" fmla="*/ 2147483647 h 4063"/>
                <a:gd name="T12" fmla="*/ 2147483647 w 5774"/>
                <a:gd name="T13" fmla="*/ 2147483647 h 4063"/>
                <a:gd name="T14" fmla="*/ 2147483647 w 5774"/>
                <a:gd name="T15" fmla="*/ 2147483647 h 4063"/>
                <a:gd name="T16" fmla="*/ 2147483647 w 5774"/>
                <a:gd name="T17" fmla="*/ 2147483647 h 4063"/>
                <a:gd name="T18" fmla="*/ 2147483647 w 5774"/>
                <a:gd name="T19" fmla="*/ 2147483647 h 4063"/>
                <a:gd name="T20" fmla="*/ 2147483647 w 5774"/>
                <a:gd name="T21" fmla="*/ 2147483647 h 4063"/>
                <a:gd name="T22" fmla="*/ 2147483647 w 5774"/>
                <a:gd name="T23" fmla="*/ 2147483647 h 4063"/>
                <a:gd name="T24" fmla="*/ 2147483647 w 5774"/>
                <a:gd name="T25" fmla="*/ 2147483647 h 4063"/>
                <a:gd name="T26" fmla="*/ 2147483647 w 5774"/>
                <a:gd name="T27" fmla="*/ 2147483647 h 4063"/>
                <a:gd name="T28" fmla="*/ 2147483647 w 5774"/>
                <a:gd name="T29" fmla="*/ 2147483647 h 4063"/>
                <a:gd name="T30" fmla="*/ 2147483647 w 5774"/>
                <a:gd name="T31" fmla="*/ 2147483647 h 4063"/>
                <a:gd name="T32" fmla="*/ 2147483647 w 5774"/>
                <a:gd name="T33" fmla="*/ 2147483647 h 4063"/>
                <a:gd name="T34" fmla="*/ 2147483647 w 5774"/>
                <a:gd name="T35" fmla="*/ 2147483647 h 4063"/>
                <a:gd name="T36" fmla="*/ 2147483647 w 5774"/>
                <a:gd name="T37" fmla="*/ 2147483647 h 4063"/>
                <a:gd name="T38" fmla="*/ 2147483647 w 5774"/>
                <a:gd name="T39" fmla="*/ 2147483647 h 4063"/>
                <a:gd name="T40" fmla="*/ 2147483647 w 5774"/>
                <a:gd name="T41" fmla="*/ 2147483647 h 4063"/>
                <a:gd name="T42" fmla="*/ 2147483647 w 5774"/>
                <a:gd name="T43" fmla="*/ 2147483647 h 4063"/>
                <a:gd name="T44" fmla="*/ 2147483647 w 5774"/>
                <a:gd name="T45" fmla="*/ 2147483647 h 4063"/>
                <a:gd name="T46" fmla="*/ 2147483647 w 5774"/>
                <a:gd name="T47" fmla="*/ 2147483647 h 4063"/>
                <a:gd name="T48" fmla="*/ 2147483647 w 5774"/>
                <a:gd name="T49" fmla="*/ 2147483647 h 4063"/>
                <a:gd name="T50" fmla="*/ 2147483647 w 5774"/>
                <a:gd name="T51" fmla="*/ 2147483647 h 4063"/>
                <a:gd name="T52" fmla="*/ 2147483647 w 5774"/>
                <a:gd name="T53" fmla="*/ 2147483647 h 4063"/>
                <a:gd name="T54" fmla="*/ 2147483647 w 5774"/>
                <a:gd name="T55" fmla="*/ 2147483647 h 4063"/>
                <a:gd name="T56" fmla="*/ 2147483647 w 5774"/>
                <a:gd name="T57" fmla="*/ 2147483647 h 4063"/>
                <a:gd name="T58" fmla="*/ 2147483647 w 5774"/>
                <a:gd name="T59" fmla="*/ 2147483647 h 4063"/>
                <a:gd name="T60" fmla="*/ 2147483647 w 5774"/>
                <a:gd name="T61" fmla="*/ 2147483647 h 4063"/>
                <a:gd name="T62" fmla="*/ 2147483647 w 5774"/>
                <a:gd name="T63" fmla="*/ 2147483647 h 4063"/>
                <a:gd name="T64" fmla="*/ 2147483647 w 5774"/>
                <a:gd name="T65" fmla="*/ 2147483647 h 4063"/>
                <a:gd name="T66" fmla="*/ 2147483647 w 5774"/>
                <a:gd name="T67" fmla="*/ 2147483647 h 4063"/>
                <a:gd name="T68" fmla="*/ 2147483647 w 5774"/>
                <a:gd name="T69" fmla="*/ 2147483647 h 4063"/>
                <a:gd name="T70" fmla="*/ 2147483647 w 5774"/>
                <a:gd name="T71" fmla="*/ 2147483647 h 4063"/>
                <a:gd name="T72" fmla="*/ 2147483647 w 5774"/>
                <a:gd name="T73" fmla="*/ 2147483647 h 4063"/>
                <a:gd name="T74" fmla="*/ 2147483647 w 5774"/>
                <a:gd name="T75" fmla="*/ 2147483647 h 4063"/>
                <a:gd name="T76" fmla="*/ 2147483647 w 5774"/>
                <a:gd name="T77" fmla="*/ 2147483647 h 4063"/>
                <a:gd name="T78" fmla="*/ 2147483647 w 5774"/>
                <a:gd name="T79" fmla="*/ 2147483647 h 4063"/>
                <a:gd name="T80" fmla="*/ 2147483647 w 5774"/>
                <a:gd name="T81" fmla="*/ 2147483647 h 4063"/>
                <a:gd name="T82" fmla="*/ 2147483647 w 5774"/>
                <a:gd name="T83" fmla="*/ 2147483647 h 4063"/>
                <a:gd name="T84" fmla="*/ 2147483647 w 5774"/>
                <a:gd name="T85" fmla="*/ 2147483647 h 4063"/>
                <a:gd name="T86" fmla="*/ 2147483647 w 5774"/>
                <a:gd name="T87" fmla="*/ 2147483647 h 4063"/>
                <a:gd name="T88" fmla="*/ 2147483647 w 5774"/>
                <a:gd name="T89" fmla="*/ 2147483647 h 4063"/>
                <a:gd name="T90" fmla="*/ 2147483647 w 5774"/>
                <a:gd name="T91" fmla="*/ 2147483647 h 4063"/>
                <a:gd name="T92" fmla="*/ 2147483647 w 5774"/>
                <a:gd name="T93" fmla="*/ 2147483647 h 4063"/>
                <a:gd name="T94" fmla="*/ 2147483647 w 5774"/>
                <a:gd name="T95" fmla="*/ 2147483647 h 4063"/>
                <a:gd name="T96" fmla="*/ 2147483647 w 5774"/>
                <a:gd name="T97" fmla="*/ 2147483647 h 4063"/>
                <a:gd name="T98" fmla="*/ 2147483647 w 5774"/>
                <a:gd name="T99" fmla="*/ 2147483647 h 4063"/>
                <a:gd name="T100" fmla="*/ 2147483647 w 5774"/>
                <a:gd name="T101" fmla="*/ 2147483647 h 4063"/>
                <a:gd name="T102" fmla="*/ 2147483647 w 5774"/>
                <a:gd name="T103" fmla="*/ 2147483647 h 4063"/>
                <a:gd name="T104" fmla="*/ 2147483647 w 5774"/>
                <a:gd name="T105" fmla="*/ 2147483647 h 4063"/>
                <a:gd name="T106" fmla="*/ 2147483647 w 5774"/>
                <a:gd name="T107" fmla="*/ 2147483647 h 4063"/>
                <a:gd name="T108" fmla="*/ 2147483647 w 5774"/>
                <a:gd name="T109" fmla="*/ 2147483647 h 4063"/>
                <a:gd name="T110" fmla="*/ 2147483647 w 5774"/>
                <a:gd name="T111" fmla="*/ 2147483647 h 4063"/>
                <a:gd name="T112" fmla="*/ 2147483647 w 5774"/>
                <a:gd name="T113" fmla="*/ 2147483647 h 4063"/>
                <a:gd name="T114" fmla="*/ 2147483647 w 5774"/>
                <a:gd name="T115" fmla="*/ 2147483647 h 4063"/>
                <a:gd name="T116" fmla="*/ 2147483647 w 5774"/>
                <a:gd name="T117" fmla="*/ 2147483647 h 4063"/>
                <a:gd name="T118" fmla="*/ 2147483647 w 5774"/>
                <a:gd name="T119" fmla="*/ 2147483647 h 4063"/>
                <a:gd name="T120" fmla="*/ 2147483647 w 5774"/>
                <a:gd name="T121" fmla="*/ 2147483647 h 4063"/>
                <a:gd name="T122" fmla="*/ 2147483647 w 5774"/>
                <a:gd name="T123" fmla="*/ 2147483647 h 4063"/>
                <a:gd name="T124" fmla="*/ 2147483647 w 5774"/>
                <a:gd name="T125" fmla="*/ 2147483647 h 406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774" h="4063">
                  <a:moveTo>
                    <a:pt x="3240" y="3552"/>
                  </a:moveTo>
                  <a:cubicBezTo>
                    <a:pt x="3225" y="3552"/>
                    <a:pt x="3241" y="3584"/>
                    <a:pt x="3241" y="3584"/>
                  </a:cubicBezTo>
                  <a:cubicBezTo>
                    <a:pt x="3241" y="3584"/>
                    <a:pt x="3254" y="3552"/>
                    <a:pt x="3240" y="3552"/>
                  </a:cubicBezTo>
                  <a:close/>
                  <a:moveTo>
                    <a:pt x="3249" y="3391"/>
                  </a:moveTo>
                  <a:cubicBezTo>
                    <a:pt x="3229" y="3393"/>
                    <a:pt x="3233" y="3454"/>
                    <a:pt x="3233" y="3454"/>
                  </a:cubicBezTo>
                  <a:cubicBezTo>
                    <a:pt x="3236" y="3520"/>
                    <a:pt x="3236" y="3520"/>
                    <a:pt x="3236" y="3520"/>
                  </a:cubicBezTo>
                  <a:cubicBezTo>
                    <a:pt x="3247" y="3500"/>
                    <a:pt x="3247" y="3500"/>
                    <a:pt x="3247" y="3500"/>
                  </a:cubicBezTo>
                  <a:cubicBezTo>
                    <a:pt x="3247" y="3432"/>
                    <a:pt x="3247" y="3432"/>
                    <a:pt x="3247" y="3432"/>
                  </a:cubicBezTo>
                  <a:cubicBezTo>
                    <a:pt x="3247" y="3432"/>
                    <a:pt x="3265" y="3389"/>
                    <a:pt x="3249" y="3391"/>
                  </a:cubicBezTo>
                  <a:close/>
                  <a:moveTo>
                    <a:pt x="3304" y="3738"/>
                  </a:moveTo>
                  <a:cubicBezTo>
                    <a:pt x="3296" y="3739"/>
                    <a:pt x="3300" y="3773"/>
                    <a:pt x="3315" y="3773"/>
                  </a:cubicBezTo>
                  <a:cubicBezTo>
                    <a:pt x="3315" y="3773"/>
                    <a:pt x="3312" y="3737"/>
                    <a:pt x="3304" y="3738"/>
                  </a:cubicBezTo>
                  <a:close/>
                  <a:moveTo>
                    <a:pt x="4046" y="3060"/>
                  </a:moveTo>
                  <a:cubicBezTo>
                    <a:pt x="4032" y="3050"/>
                    <a:pt x="3984" y="3056"/>
                    <a:pt x="3984" y="3056"/>
                  </a:cubicBezTo>
                  <a:cubicBezTo>
                    <a:pt x="3980" y="3068"/>
                    <a:pt x="3980" y="3068"/>
                    <a:pt x="3980" y="3068"/>
                  </a:cubicBezTo>
                  <a:cubicBezTo>
                    <a:pt x="3969" y="3062"/>
                    <a:pt x="3969" y="3062"/>
                    <a:pt x="3969" y="3062"/>
                  </a:cubicBezTo>
                  <a:cubicBezTo>
                    <a:pt x="3963" y="3079"/>
                    <a:pt x="3963" y="3079"/>
                    <a:pt x="3963" y="3079"/>
                  </a:cubicBezTo>
                  <a:cubicBezTo>
                    <a:pt x="3963" y="3079"/>
                    <a:pt x="3933" y="3102"/>
                    <a:pt x="3952" y="3126"/>
                  </a:cubicBezTo>
                  <a:cubicBezTo>
                    <a:pt x="3972" y="3149"/>
                    <a:pt x="3985" y="3149"/>
                    <a:pt x="3985" y="3149"/>
                  </a:cubicBezTo>
                  <a:cubicBezTo>
                    <a:pt x="4041" y="3148"/>
                    <a:pt x="4037" y="3131"/>
                    <a:pt x="4039" y="3124"/>
                  </a:cubicBezTo>
                  <a:cubicBezTo>
                    <a:pt x="4040" y="3118"/>
                    <a:pt x="4036" y="3103"/>
                    <a:pt x="4036" y="3103"/>
                  </a:cubicBezTo>
                  <a:cubicBezTo>
                    <a:pt x="4036" y="3103"/>
                    <a:pt x="4061" y="3071"/>
                    <a:pt x="4046" y="3060"/>
                  </a:cubicBezTo>
                  <a:close/>
                  <a:moveTo>
                    <a:pt x="27" y="1975"/>
                  </a:moveTo>
                  <a:cubicBezTo>
                    <a:pt x="30" y="1984"/>
                    <a:pt x="40" y="1990"/>
                    <a:pt x="39" y="1974"/>
                  </a:cubicBezTo>
                  <a:cubicBezTo>
                    <a:pt x="38" y="1958"/>
                    <a:pt x="27" y="1975"/>
                    <a:pt x="27" y="1975"/>
                  </a:cubicBezTo>
                  <a:close/>
                  <a:moveTo>
                    <a:pt x="4671" y="2798"/>
                  </a:moveTo>
                  <a:cubicBezTo>
                    <a:pt x="4662" y="2781"/>
                    <a:pt x="4662" y="2781"/>
                    <a:pt x="4662" y="2781"/>
                  </a:cubicBezTo>
                  <a:cubicBezTo>
                    <a:pt x="4662" y="2791"/>
                    <a:pt x="4662" y="2791"/>
                    <a:pt x="4662" y="2791"/>
                  </a:cubicBezTo>
                  <a:cubicBezTo>
                    <a:pt x="4660" y="2807"/>
                    <a:pt x="4675" y="2814"/>
                    <a:pt x="4680" y="2806"/>
                  </a:cubicBezTo>
                  <a:cubicBezTo>
                    <a:pt x="4686" y="2798"/>
                    <a:pt x="4671" y="2798"/>
                    <a:pt x="4671" y="2798"/>
                  </a:cubicBezTo>
                  <a:close/>
                  <a:moveTo>
                    <a:pt x="405" y="2235"/>
                  </a:moveTo>
                  <a:cubicBezTo>
                    <a:pt x="405" y="2235"/>
                    <a:pt x="381" y="2231"/>
                    <a:pt x="372" y="2233"/>
                  </a:cubicBezTo>
                  <a:cubicBezTo>
                    <a:pt x="363" y="2235"/>
                    <a:pt x="366" y="2244"/>
                    <a:pt x="366" y="2244"/>
                  </a:cubicBezTo>
                  <a:cubicBezTo>
                    <a:pt x="366" y="2244"/>
                    <a:pt x="334" y="2238"/>
                    <a:pt x="335" y="2249"/>
                  </a:cubicBezTo>
                  <a:cubicBezTo>
                    <a:pt x="336" y="2263"/>
                    <a:pt x="363" y="2278"/>
                    <a:pt x="370" y="2275"/>
                  </a:cubicBezTo>
                  <a:cubicBezTo>
                    <a:pt x="377" y="2272"/>
                    <a:pt x="395" y="2256"/>
                    <a:pt x="395" y="2256"/>
                  </a:cubicBezTo>
                  <a:cubicBezTo>
                    <a:pt x="395" y="2256"/>
                    <a:pt x="411" y="2263"/>
                    <a:pt x="414" y="2257"/>
                  </a:cubicBezTo>
                  <a:cubicBezTo>
                    <a:pt x="418" y="2251"/>
                    <a:pt x="411" y="2242"/>
                    <a:pt x="411" y="2242"/>
                  </a:cubicBezTo>
                  <a:cubicBezTo>
                    <a:pt x="432" y="2218"/>
                    <a:pt x="432" y="2218"/>
                    <a:pt x="432" y="2218"/>
                  </a:cubicBezTo>
                  <a:lnTo>
                    <a:pt x="405" y="2235"/>
                  </a:lnTo>
                  <a:close/>
                  <a:moveTo>
                    <a:pt x="3" y="1994"/>
                  </a:moveTo>
                  <a:cubicBezTo>
                    <a:pt x="17" y="1993"/>
                    <a:pt x="17" y="1993"/>
                    <a:pt x="17" y="1993"/>
                  </a:cubicBezTo>
                  <a:cubicBezTo>
                    <a:pt x="20" y="1984"/>
                    <a:pt x="20" y="1984"/>
                    <a:pt x="20" y="1984"/>
                  </a:cubicBezTo>
                  <a:cubicBezTo>
                    <a:pt x="0" y="1984"/>
                    <a:pt x="0" y="1984"/>
                    <a:pt x="0" y="1984"/>
                  </a:cubicBezTo>
                  <a:lnTo>
                    <a:pt x="3" y="1994"/>
                  </a:lnTo>
                  <a:close/>
                  <a:moveTo>
                    <a:pt x="4592" y="2330"/>
                  </a:moveTo>
                  <a:cubicBezTo>
                    <a:pt x="4568" y="2338"/>
                    <a:pt x="4578" y="2347"/>
                    <a:pt x="4593" y="2347"/>
                  </a:cubicBezTo>
                  <a:cubicBezTo>
                    <a:pt x="4612" y="2347"/>
                    <a:pt x="4616" y="2322"/>
                    <a:pt x="4592" y="2330"/>
                  </a:cubicBezTo>
                  <a:close/>
                  <a:moveTo>
                    <a:pt x="4606" y="2815"/>
                  </a:moveTo>
                  <a:cubicBezTo>
                    <a:pt x="4590" y="2814"/>
                    <a:pt x="4599" y="2831"/>
                    <a:pt x="4599" y="2831"/>
                  </a:cubicBezTo>
                  <a:cubicBezTo>
                    <a:pt x="4611" y="2834"/>
                    <a:pt x="4622" y="2817"/>
                    <a:pt x="4606" y="2815"/>
                  </a:cubicBezTo>
                  <a:close/>
                  <a:moveTo>
                    <a:pt x="4622" y="2825"/>
                  </a:moveTo>
                  <a:cubicBezTo>
                    <a:pt x="4626" y="2825"/>
                    <a:pt x="4644" y="2819"/>
                    <a:pt x="4644" y="2819"/>
                  </a:cubicBezTo>
                  <a:cubicBezTo>
                    <a:pt x="4626" y="2810"/>
                    <a:pt x="4626" y="2810"/>
                    <a:pt x="4626" y="2810"/>
                  </a:cubicBezTo>
                  <a:cubicBezTo>
                    <a:pt x="4626" y="2810"/>
                    <a:pt x="4618" y="2825"/>
                    <a:pt x="4622" y="2825"/>
                  </a:cubicBezTo>
                  <a:close/>
                  <a:moveTo>
                    <a:pt x="4096" y="3231"/>
                  </a:moveTo>
                  <a:cubicBezTo>
                    <a:pt x="4080" y="3231"/>
                    <a:pt x="4091" y="3249"/>
                    <a:pt x="4091" y="3249"/>
                  </a:cubicBezTo>
                  <a:cubicBezTo>
                    <a:pt x="4103" y="3249"/>
                    <a:pt x="4112" y="3231"/>
                    <a:pt x="4096" y="3231"/>
                  </a:cubicBezTo>
                  <a:close/>
                  <a:moveTo>
                    <a:pt x="4115" y="3205"/>
                  </a:moveTo>
                  <a:cubicBezTo>
                    <a:pt x="4108" y="3213"/>
                    <a:pt x="4127" y="3223"/>
                    <a:pt x="4127" y="3223"/>
                  </a:cubicBezTo>
                  <a:cubicBezTo>
                    <a:pt x="4138" y="3218"/>
                    <a:pt x="4138" y="3218"/>
                    <a:pt x="4138" y="3218"/>
                  </a:cubicBezTo>
                  <a:cubicBezTo>
                    <a:pt x="4138" y="3218"/>
                    <a:pt x="4121" y="3197"/>
                    <a:pt x="4115" y="3205"/>
                  </a:cubicBezTo>
                  <a:close/>
                  <a:moveTo>
                    <a:pt x="4486" y="2771"/>
                  </a:moveTo>
                  <a:cubicBezTo>
                    <a:pt x="4469" y="2791"/>
                    <a:pt x="4469" y="2791"/>
                    <a:pt x="4469" y="2791"/>
                  </a:cubicBezTo>
                  <a:cubicBezTo>
                    <a:pt x="4469" y="2791"/>
                    <a:pt x="4430" y="2873"/>
                    <a:pt x="4438" y="2885"/>
                  </a:cubicBezTo>
                  <a:cubicBezTo>
                    <a:pt x="4446" y="2897"/>
                    <a:pt x="4464" y="2918"/>
                    <a:pt x="4464" y="2918"/>
                  </a:cubicBezTo>
                  <a:cubicBezTo>
                    <a:pt x="4464" y="2918"/>
                    <a:pt x="4477" y="2952"/>
                    <a:pt x="4492" y="2952"/>
                  </a:cubicBezTo>
                  <a:cubicBezTo>
                    <a:pt x="4492" y="2919"/>
                    <a:pt x="4492" y="2919"/>
                    <a:pt x="4492" y="2919"/>
                  </a:cubicBezTo>
                  <a:cubicBezTo>
                    <a:pt x="4492" y="2919"/>
                    <a:pt x="4505" y="2910"/>
                    <a:pt x="4505" y="2889"/>
                  </a:cubicBezTo>
                  <a:cubicBezTo>
                    <a:pt x="4505" y="2868"/>
                    <a:pt x="4505" y="2839"/>
                    <a:pt x="4505" y="2839"/>
                  </a:cubicBezTo>
                  <a:cubicBezTo>
                    <a:pt x="4505" y="2839"/>
                    <a:pt x="4515" y="2826"/>
                    <a:pt x="4514" y="2814"/>
                  </a:cubicBezTo>
                  <a:cubicBezTo>
                    <a:pt x="4513" y="2802"/>
                    <a:pt x="4515" y="2788"/>
                    <a:pt x="4515" y="2788"/>
                  </a:cubicBezTo>
                  <a:lnTo>
                    <a:pt x="4486" y="2771"/>
                  </a:lnTo>
                  <a:close/>
                  <a:moveTo>
                    <a:pt x="4138" y="3239"/>
                  </a:moveTo>
                  <a:cubicBezTo>
                    <a:pt x="4148" y="3245"/>
                    <a:pt x="4156" y="3234"/>
                    <a:pt x="4151" y="3229"/>
                  </a:cubicBezTo>
                  <a:cubicBezTo>
                    <a:pt x="4146" y="3223"/>
                    <a:pt x="4131" y="3235"/>
                    <a:pt x="4138" y="3239"/>
                  </a:cubicBezTo>
                  <a:close/>
                  <a:moveTo>
                    <a:pt x="67" y="2057"/>
                  </a:moveTo>
                  <a:cubicBezTo>
                    <a:pt x="63" y="2053"/>
                    <a:pt x="61" y="2075"/>
                    <a:pt x="67" y="2085"/>
                  </a:cubicBezTo>
                  <a:cubicBezTo>
                    <a:pt x="72" y="2094"/>
                    <a:pt x="79" y="2076"/>
                    <a:pt x="81" y="2072"/>
                  </a:cubicBezTo>
                  <a:cubicBezTo>
                    <a:pt x="83" y="2068"/>
                    <a:pt x="71" y="2061"/>
                    <a:pt x="67" y="2057"/>
                  </a:cubicBezTo>
                  <a:close/>
                  <a:moveTo>
                    <a:pt x="3587" y="252"/>
                  </a:moveTo>
                  <a:cubicBezTo>
                    <a:pt x="3625" y="256"/>
                    <a:pt x="3625" y="256"/>
                    <a:pt x="3625" y="256"/>
                  </a:cubicBezTo>
                  <a:cubicBezTo>
                    <a:pt x="3635" y="246"/>
                    <a:pt x="3633" y="234"/>
                    <a:pt x="3615" y="234"/>
                  </a:cubicBezTo>
                  <a:cubicBezTo>
                    <a:pt x="3597" y="234"/>
                    <a:pt x="3537" y="220"/>
                    <a:pt x="3545" y="232"/>
                  </a:cubicBezTo>
                  <a:cubicBezTo>
                    <a:pt x="3553" y="244"/>
                    <a:pt x="3587" y="252"/>
                    <a:pt x="3587" y="252"/>
                  </a:cubicBezTo>
                  <a:close/>
                  <a:moveTo>
                    <a:pt x="3547" y="288"/>
                  </a:moveTo>
                  <a:cubicBezTo>
                    <a:pt x="3521" y="314"/>
                    <a:pt x="3577" y="312"/>
                    <a:pt x="3585" y="302"/>
                  </a:cubicBezTo>
                  <a:cubicBezTo>
                    <a:pt x="3593" y="292"/>
                    <a:pt x="3554" y="281"/>
                    <a:pt x="3547" y="288"/>
                  </a:cubicBezTo>
                  <a:close/>
                  <a:moveTo>
                    <a:pt x="3347" y="234"/>
                  </a:moveTo>
                  <a:cubicBezTo>
                    <a:pt x="3311" y="222"/>
                    <a:pt x="3311" y="222"/>
                    <a:pt x="3311" y="222"/>
                  </a:cubicBezTo>
                  <a:cubicBezTo>
                    <a:pt x="3327" y="244"/>
                    <a:pt x="3327" y="244"/>
                    <a:pt x="3327" y="244"/>
                  </a:cubicBezTo>
                  <a:lnTo>
                    <a:pt x="3347" y="234"/>
                  </a:lnTo>
                  <a:close/>
                  <a:moveTo>
                    <a:pt x="3585" y="330"/>
                  </a:moveTo>
                  <a:cubicBezTo>
                    <a:pt x="3633" y="324"/>
                    <a:pt x="3633" y="324"/>
                    <a:pt x="3633" y="324"/>
                  </a:cubicBezTo>
                  <a:cubicBezTo>
                    <a:pt x="3705" y="334"/>
                    <a:pt x="3705" y="334"/>
                    <a:pt x="3705" y="334"/>
                  </a:cubicBezTo>
                  <a:cubicBezTo>
                    <a:pt x="3705" y="334"/>
                    <a:pt x="3683" y="310"/>
                    <a:pt x="3667" y="306"/>
                  </a:cubicBezTo>
                  <a:cubicBezTo>
                    <a:pt x="3651" y="302"/>
                    <a:pt x="3595" y="310"/>
                    <a:pt x="3595" y="310"/>
                  </a:cubicBezTo>
                  <a:lnTo>
                    <a:pt x="3585" y="330"/>
                  </a:lnTo>
                  <a:close/>
                  <a:moveTo>
                    <a:pt x="3481" y="278"/>
                  </a:moveTo>
                  <a:cubicBezTo>
                    <a:pt x="3491" y="260"/>
                    <a:pt x="3491" y="260"/>
                    <a:pt x="3491" y="260"/>
                  </a:cubicBezTo>
                  <a:cubicBezTo>
                    <a:pt x="3491" y="260"/>
                    <a:pt x="3517" y="260"/>
                    <a:pt x="3527" y="260"/>
                  </a:cubicBezTo>
                  <a:cubicBezTo>
                    <a:pt x="3537" y="260"/>
                    <a:pt x="3567" y="258"/>
                    <a:pt x="3567" y="258"/>
                  </a:cubicBezTo>
                  <a:cubicBezTo>
                    <a:pt x="3525" y="238"/>
                    <a:pt x="3525" y="238"/>
                    <a:pt x="3525" y="238"/>
                  </a:cubicBezTo>
                  <a:cubicBezTo>
                    <a:pt x="3533" y="224"/>
                    <a:pt x="3533" y="224"/>
                    <a:pt x="3533" y="224"/>
                  </a:cubicBezTo>
                  <a:cubicBezTo>
                    <a:pt x="3473" y="212"/>
                    <a:pt x="3473" y="212"/>
                    <a:pt x="3473" y="212"/>
                  </a:cubicBezTo>
                  <a:cubicBezTo>
                    <a:pt x="3483" y="230"/>
                    <a:pt x="3483" y="230"/>
                    <a:pt x="3483" y="230"/>
                  </a:cubicBezTo>
                  <a:cubicBezTo>
                    <a:pt x="3483" y="230"/>
                    <a:pt x="3361" y="190"/>
                    <a:pt x="3363" y="220"/>
                  </a:cubicBezTo>
                  <a:cubicBezTo>
                    <a:pt x="3365" y="250"/>
                    <a:pt x="3481" y="278"/>
                    <a:pt x="3481" y="278"/>
                  </a:cubicBezTo>
                  <a:close/>
                  <a:moveTo>
                    <a:pt x="5057" y="442"/>
                  </a:moveTo>
                  <a:cubicBezTo>
                    <a:pt x="5069" y="438"/>
                    <a:pt x="5087" y="436"/>
                    <a:pt x="5113" y="436"/>
                  </a:cubicBezTo>
                  <a:cubicBezTo>
                    <a:pt x="5139" y="436"/>
                    <a:pt x="5143" y="420"/>
                    <a:pt x="5125" y="418"/>
                  </a:cubicBezTo>
                  <a:cubicBezTo>
                    <a:pt x="5107" y="416"/>
                    <a:pt x="5075" y="404"/>
                    <a:pt x="5063" y="404"/>
                  </a:cubicBezTo>
                  <a:cubicBezTo>
                    <a:pt x="5051" y="404"/>
                    <a:pt x="5023" y="404"/>
                    <a:pt x="5023" y="426"/>
                  </a:cubicBezTo>
                  <a:cubicBezTo>
                    <a:pt x="5023" y="450"/>
                    <a:pt x="5045" y="446"/>
                    <a:pt x="5057" y="442"/>
                  </a:cubicBezTo>
                  <a:close/>
                  <a:moveTo>
                    <a:pt x="4799" y="494"/>
                  </a:moveTo>
                  <a:cubicBezTo>
                    <a:pt x="4807" y="484"/>
                    <a:pt x="4733" y="474"/>
                    <a:pt x="4733" y="474"/>
                  </a:cubicBezTo>
                  <a:cubicBezTo>
                    <a:pt x="4733" y="482"/>
                    <a:pt x="4791" y="504"/>
                    <a:pt x="4799" y="494"/>
                  </a:cubicBezTo>
                  <a:close/>
                  <a:moveTo>
                    <a:pt x="3823" y="272"/>
                  </a:moveTo>
                  <a:cubicBezTo>
                    <a:pt x="3851" y="258"/>
                    <a:pt x="3755" y="258"/>
                    <a:pt x="3755" y="258"/>
                  </a:cubicBezTo>
                  <a:cubicBezTo>
                    <a:pt x="3755" y="258"/>
                    <a:pt x="3735" y="240"/>
                    <a:pt x="3727" y="240"/>
                  </a:cubicBezTo>
                  <a:cubicBezTo>
                    <a:pt x="3719" y="240"/>
                    <a:pt x="3695" y="244"/>
                    <a:pt x="3695" y="244"/>
                  </a:cubicBezTo>
                  <a:cubicBezTo>
                    <a:pt x="3671" y="242"/>
                    <a:pt x="3671" y="242"/>
                    <a:pt x="3671" y="242"/>
                  </a:cubicBezTo>
                  <a:cubicBezTo>
                    <a:pt x="3695" y="258"/>
                    <a:pt x="3695" y="258"/>
                    <a:pt x="3695" y="258"/>
                  </a:cubicBezTo>
                  <a:cubicBezTo>
                    <a:pt x="3695" y="258"/>
                    <a:pt x="3795" y="286"/>
                    <a:pt x="3823" y="272"/>
                  </a:cubicBezTo>
                  <a:close/>
                  <a:moveTo>
                    <a:pt x="2611" y="288"/>
                  </a:moveTo>
                  <a:cubicBezTo>
                    <a:pt x="2643" y="294"/>
                    <a:pt x="2643" y="294"/>
                    <a:pt x="2643" y="294"/>
                  </a:cubicBezTo>
                  <a:cubicBezTo>
                    <a:pt x="2663" y="296"/>
                    <a:pt x="2683" y="284"/>
                    <a:pt x="2653" y="278"/>
                  </a:cubicBezTo>
                  <a:cubicBezTo>
                    <a:pt x="2623" y="272"/>
                    <a:pt x="2611" y="288"/>
                    <a:pt x="2611" y="288"/>
                  </a:cubicBezTo>
                  <a:close/>
                  <a:moveTo>
                    <a:pt x="1319" y="340"/>
                  </a:moveTo>
                  <a:cubicBezTo>
                    <a:pt x="1352" y="332"/>
                    <a:pt x="1341" y="322"/>
                    <a:pt x="1333" y="318"/>
                  </a:cubicBezTo>
                  <a:cubicBezTo>
                    <a:pt x="1325" y="314"/>
                    <a:pt x="1295" y="318"/>
                    <a:pt x="1295" y="318"/>
                  </a:cubicBezTo>
                  <a:cubicBezTo>
                    <a:pt x="1295" y="318"/>
                    <a:pt x="1301" y="344"/>
                    <a:pt x="1319" y="340"/>
                  </a:cubicBezTo>
                  <a:close/>
                  <a:moveTo>
                    <a:pt x="1595" y="363"/>
                  </a:moveTo>
                  <a:cubicBezTo>
                    <a:pt x="1574" y="358"/>
                    <a:pt x="1574" y="358"/>
                    <a:pt x="1574" y="358"/>
                  </a:cubicBezTo>
                  <a:cubicBezTo>
                    <a:pt x="1557" y="372"/>
                    <a:pt x="1557" y="372"/>
                    <a:pt x="1557" y="372"/>
                  </a:cubicBezTo>
                  <a:cubicBezTo>
                    <a:pt x="1583" y="379"/>
                    <a:pt x="1583" y="379"/>
                    <a:pt x="1583" y="379"/>
                  </a:cubicBezTo>
                  <a:lnTo>
                    <a:pt x="1595" y="363"/>
                  </a:lnTo>
                  <a:close/>
                  <a:moveTo>
                    <a:pt x="1803" y="82"/>
                  </a:moveTo>
                  <a:cubicBezTo>
                    <a:pt x="1813" y="72"/>
                    <a:pt x="1813" y="72"/>
                    <a:pt x="1813" y="72"/>
                  </a:cubicBezTo>
                  <a:cubicBezTo>
                    <a:pt x="1753" y="72"/>
                    <a:pt x="1753" y="72"/>
                    <a:pt x="1753" y="72"/>
                  </a:cubicBezTo>
                  <a:lnTo>
                    <a:pt x="1803" y="82"/>
                  </a:lnTo>
                  <a:close/>
                  <a:moveTo>
                    <a:pt x="1623" y="345"/>
                  </a:moveTo>
                  <a:cubicBezTo>
                    <a:pt x="1598" y="328"/>
                    <a:pt x="1605" y="351"/>
                    <a:pt x="1605" y="351"/>
                  </a:cubicBezTo>
                  <a:cubicBezTo>
                    <a:pt x="1630" y="361"/>
                    <a:pt x="1648" y="362"/>
                    <a:pt x="1623" y="345"/>
                  </a:cubicBezTo>
                  <a:close/>
                  <a:moveTo>
                    <a:pt x="2121" y="132"/>
                  </a:moveTo>
                  <a:cubicBezTo>
                    <a:pt x="2227" y="126"/>
                    <a:pt x="2227" y="126"/>
                    <a:pt x="2227" y="126"/>
                  </a:cubicBezTo>
                  <a:cubicBezTo>
                    <a:pt x="2199" y="110"/>
                    <a:pt x="2199" y="110"/>
                    <a:pt x="2199" y="110"/>
                  </a:cubicBezTo>
                  <a:cubicBezTo>
                    <a:pt x="2199" y="110"/>
                    <a:pt x="2161" y="90"/>
                    <a:pt x="2151" y="90"/>
                  </a:cubicBezTo>
                  <a:cubicBezTo>
                    <a:pt x="2141" y="90"/>
                    <a:pt x="2123" y="102"/>
                    <a:pt x="2123" y="102"/>
                  </a:cubicBezTo>
                  <a:cubicBezTo>
                    <a:pt x="2123" y="102"/>
                    <a:pt x="2117" y="74"/>
                    <a:pt x="2095" y="74"/>
                  </a:cubicBezTo>
                  <a:cubicBezTo>
                    <a:pt x="2073" y="74"/>
                    <a:pt x="2061" y="140"/>
                    <a:pt x="2061" y="140"/>
                  </a:cubicBezTo>
                  <a:cubicBezTo>
                    <a:pt x="2077" y="148"/>
                    <a:pt x="2077" y="148"/>
                    <a:pt x="2077" y="148"/>
                  </a:cubicBezTo>
                  <a:cubicBezTo>
                    <a:pt x="2095" y="144"/>
                    <a:pt x="2121" y="132"/>
                    <a:pt x="2121" y="132"/>
                  </a:cubicBezTo>
                  <a:close/>
                  <a:moveTo>
                    <a:pt x="1841" y="80"/>
                  </a:moveTo>
                  <a:cubicBezTo>
                    <a:pt x="1841" y="88"/>
                    <a:pt x="1907" y="94"/>
                    <a:pt x="1907" y="94"/>
                  </a:cubicBezTo>
                  <a:cubicBezTo>
                    <a:pt x="1941" y="90"/>
                    <a:pt x="1941" y="90"/>
                    <a:pt x="1941" y="90"/>
                  </a:cubicBezTo>
                  <a:cubicBezTo>
                    <a:pt x="1979" y="104"/>
                    <a:pt x="1979" y="104"/>
                    <a:pt x="1979" y="104"/>
                  </a:cubicBezTo>
                  <a:cubicBezTo>
                    <a:pt x="2021" y="102"/>
                    <a:pt x="2021" y="102"/>
                    <a:pt x="2021" y="102"/>
                  </a:cubicBezTo>
                  <a:cubicBezTo>
                    <a:pt x="2015" y="84"/>
                    <a:pt x="1997" y="58"/>
                    <a:pt x="1979" y="60"/>
                  </a:cubicBezTo>
                  <a:cubicBezTo>
                    <a:pt x="1961" y="62"/>
                    <a:pt x="1943" y="74"/>
                    <a:pt x="1943" y="74"/>
                  </a:cubicBezTo>
                  <a:cubicBezTo>
                    <a:pt x="1929" y="58"/>
                    <a:pt x="1929" y="58"/>
                    <a:pt x="1929" y="58"/>
                  </a:cubicBezTo>
                  <a:cubicBezTo>
                    <a:pt x="1929" y="58"/>
                    <a:pt x="1841" y="72"/>
                    <a:pt x="1841" y="80"/>
                  </a:cubicBezTo>
                  <a:close/>
                  <a:moveTo>
                    <a:pt x="1779" y="64"/>
                  </a:moveTo>
                  <a:cubicBezTo>
                    <a:pt x="1779" y="64"/>
                    <a:pt x="1835" y="68"/>
                    <a:pt x="1847" y="64"/>
                  </a:cubicBezTo>
                  <a:cubicBezTo>
                    <a:pt x="1859" y="60"/>
                    <a:pt x="1901" y="64"/>
                    <a:pt x="1893" y="48"/>
                  </a:cubicBezTo>
                  <a:cubicBezTo>
                    <a:pt x="1885" y="32"/>
                    <a:pt x="1811" y="10"/>
                    <a:pt x="1811" y="10"/>
                  </a:cubicBezTo>
                  <a:cubicBezTo>
                    <a:pt x="1811" y="10"/>
                    <a:pt x="1755" y="0"/>
                    <a:pt x="1753" y="20"/>
                  </a:cubicBezTo>
                  <a:cubicBezTo>
                    <a:pt x="1751" y="40"/>
                    <a:pt x="1779" y="64"/>
                    <a:pt x="1779" y="64"/>
                  </a:cubicBezTo>
                  <a:close/>
                  <a:moveTo>
                    <a:pt x="2738" y="3690"/>
                  </a:moveTo>
                  <a:cubicBezTo>
                    <a:pt x="2721" y="3694"/>
                    <a:pt x="2721" y="3694"/>
                    <a:pt x="2721" y="3694"/>
                  </a:cubicBezTo>
                  <a:cubicBezTo>
                    <a:pt x="2725" y="3673"/>
                    <a:pt x="2725" y="3673"/>
                    <a:pt x="2725" y="3673"/>
                  </a:cubicBezTo>
                  <a:cubicBezTo>
                    <a:pt x="2725" y="3673"/>
                    <a:pt x="2712" y="3658"/>
                    <a:pt x="2696" y="3637"/>
                  </a:cubicBezTo>
                  <a:cubicBezTo>
                    <a:pt x="2680" y="3615"/>
                    <a:pt x="2669" y="3608"/>
                    <a:pt x="2653" y="3617"/>
                  </a:cubicBezTo>
                  <a:cubicBezTo>
                    <a:pt x="2652" y="3640"/>
                    <a:pt x="2652" y="3640"/>
                    <a:pt x="2652" y="3640"/>
                  </a:cubicBezTo>
                  <a:cubicBezTo>
                    <a:pt x="2639" y="3640"/>
                    <a:pt x="2639" y="3640"/>
                    <a:pt x="2639" y="3640"/>
                  </a:cubicBezTo>
                  <a:cubicBezTo>
                    <a:pt x="2659" y="3667"/>
                    <a:pt x="2659" y="3667"/>
                    <a:pt x="2659" y="3667"/>
                  </a:cubicBezTo>
                  <a:cubicBezTo>
                    <a:pt x="2659" y="3667"/>
                    <a:pt x="2655" y="3699"/>
                    <a:pt x="2644" y="3707"/>
                  </a:cubicBezTo>
                  <a:cubicBezTo>
                    <a:pt x="2634" y="3714"/>
                    <a:pt x="2635" y="3768"/>
                    <a:pt x="2653" y="3802"/>
                  </a:cubicBezTo>
                  <a:cubicBezTo>
                    <a:pt x="2671" y="3836"/>
                    <a:pt x="2709" y="3812"/>
                    <a:pt x="2739" y="3798"/>
                  </a:cubicBezTo>
                  <a:cubicBezTo>
                    <a:pt x="2770" y="3784"/>
                    <a:pt x="2739" y="3728"/>
                    <a:pt x="2739" y="3728"/>
                  </a:cubicBezTo>
                  <a:lnTo>
                    <a:pt x="2738" y="3690"/>
                  </a:lnTo>
                  <a:close/>
                  <a:moveTo>
                    <a:pt x="4708" y="2714"/>
                  </a:moveTo>
                  <a:cubicBezTo>
                    <a:pt x="4708" y="2722"/>
                    <a:pt x="4719" y="2722"/>
                    <a:pt x="4719" y="2722"/>
                  </a:cubicBezTo>
                  <a:cubicBezTo>
                    <a:pt x="4726" y="2710"/>
                    <a:pt x="4708" y="2706"/>
                    <a:pt x="4708" y="2714"/>
                  </a:cubicBezTo>
                  <a:close/>
                  <a:moveTo>
                    <a:pt x="4385" y="1184"/>
                  </a:moveTo>
                  <a:cubicBezTo>
                    <a:pt x="4379" y="1192"/>
                    <a:pt x="4391" y="1220"/>
                    <a:pt x="4413" y="1222"/>
                  </a:cubicBezTo>
                  <a:cubicBezTo>
                    <a:pt x="4431" y="1224"/>
                    <a:pt x="4391" y="1176"/>
                    <a:pt x="4385" y="1184"/>
                  </a:cubicBezTo>
                  <a:close/>
                  <a:moveTo>
                    <a:pt x="5315" y="1624"/>
                  </a:moveTo>
                  <a:cubicBezTo>
                    <a:pt x="5316" y="1603"/>
                    <a:pt x="5316" y="1603"/>
                    <a:pt x="5316" y="1603"/>
                  </a:cubicBezTo>
                  <a:cubicBezTo>
                    <a:pt x="5307" y="1620"/>
                    <a:pt x="5307" y="1620"/>
                    <a:pt x="5307" y="1620"/>
                  </a:cubicBezTo>
                  <a:lnTo>
                    <a:pt x="5315" y="1624"/>
                  </a:lnTo>
                  <a:close/>
                  <a:moveTo>
                    <a:pt x="5314" y="1561"/>
                  </a:moveTo>
                  <a:cubicBezTo>
                    <a:pt x="5326" y="1559"/>
                    <a:pt x="5326" y="1559"/>
                    <a:pt x="5326" y="1559"/>
                  </a:cubicBezTo>
                  <a:cubicBezTo>
                    <a:pt x="5314" y="1547"/>
                    <a:pt x="5314" y="1547"/>
                    <a:pt x="5314" y="1547"/>
                  </a:cubicBezTo>
                  <a:lnTo>
                    <a:pt x="5314" y="1561"/>
                  </a:lnTo>
                  <a:close/>
                  <a:moveTo>
                    <a:pt x="5239" y="1026"/>
                  </a:moveTo>
                  <a:cubicBezTo>
                    <a:pt x="5259" y="1002"/>
                    <a:pt x="5259" y="1002"/>
                    <a:pt x="5259" y="1002"/>
                  </a:cubicBezTo>
                  <a:cubicBezTo>
                    <a:pt x="5251" y="988"/>
                    <a:pt x="5251" y="988"/>
                    <a:pt x="5251" y="988"/>
                  </a:cubicBezTo>
                  <a:cubicBezTo>
                    <a:pt x="5227" y="1002"/>
                    <a:pt x="5227" y="1002"/>
                    <a:pt x="5227" y="1002"/>
                  </a:cubicBezTo>
                  <a:lnTo>
                    <a:pt x="5239" y="1026"/>
                  </a:lnTo>
                  <a:close/>
                  <a:moveTo>
                    <a:pt x="5334" y="1411"/>
                  </a:moveTo>
                  <a:cubicBezTo>
                    <a:pt x="5322" y="1422"/>
                    <a:pt x="5322" y="1422"/>
                    <a:pt x="5322" y="1422"/>
                  </a:cubicBezTo>
                  <a:cubicBezTo>
                    <a:pt x="5330" y="1437"/>
                    <a:pt x="5330" y="1437"/>
                    <a:pt x="5330" y="1437"/>
                  </a:cubicBezTo>
                  <a:cubicBezTo>
                    <a:pt x="5318" y="1437"/>
                    <a:pt x="5318" y="1437"/>
                    <a:pt x="5318" y="1437"/>
                  </a:cubicBezTo>
                  <a:cubicBezTo>
                    <a:pt x="5318" y="1457"/>
                    <a:pt x="5318" y="1457"/>
                    <a:pt x="5318" y="1457"/>
                  </a:cubicBezTo>
                  <a:cubicBezTo>
                    <a:pt x="5334" y="1455"/>
                    <a:pt x="5334" y="1455"/>
                    <a:pt x="5334" y="1455"/>
                  </a:cubicBezTo>
                  <a:cubicBezTo>
                    <a:pt x="5343" y="1444"/>
                    <a:pt x="5343" y="1444"/>
                    <a:pt x="5343" y="1444"/>
                  </a:cubicBezTo>
                  <a:cubicBezTo>
                    <a:pt x="5334" y="1425"/>
                    <a:pt x="5334" y="1425"/>
                    <a:pt x="5334" y="1425"/>
                  </a:cubicBezTo>
                  <a:cubicBezTo>
                    <a:pt x="5344" y="1423"/>
                    <a:pt x="5344" y="1423"/>
                    <a:pt x="5344" y="1423"/>
                  </a:cubicBezTo>
                  <a:lnTo>
                    <a:pt x="5334" y="1411"/>
                  </a:lnTo>
                  <a:close/>
                  <a:moveTo>
                    <a:pt x="5329" y="1501"/>
                  </a:moveTo>
                  <a:cubicBezTo>
                    <a:pt x="5340" y="1487"/>
                    <a:pt x="5340" y="1487"/>
                    <a:pt x="5340" y="1487"/>
                  </a:cubicBezTo>
                  <a:cubicBezTo>
                    <a:pt x="5323" y="1473"/>
                    <a:pt x="5323" y="1473"/>
                    <a:pt x="5323" y="1473"/>
                  </a:cubicBezTo>
                  <a:lnTo>
                    <a:pt x="5329" y="1501"/>
                  </a:lnTo>
                  <a:close/>
                  <a:moveTo>
                    <a:pt x="63" y="1961"/>
                  </a:moveTo>
                  <a:cubicBezTo>
                    <a:pt x="45" y="1961"/>
                    <a:pt x="45" y="1961"/>
                    <a:pt x="45" y="1961"/>
                  </a:cubicBezTo>
                  <a:cubicBezTo>
                    <a:pt x="45" y="1982"/>
                    <a:pt x="45" y="1982"/>
                    <a:pt x="45" y="1982"/>
                  </a:cubicBezTo>
                  <a:cubicBezTo>
                    <a:pt x="52" y="1969"/>
                    <a:pt x="52" y="1969"/>
                    <a:pt x="52" y="1969"/>
                  </a:cubicBezTo>
                  <a:lnTo>
                    <a:pt x="63" y="1961"/>
                  </a:lnTo>
                  <a:close/>
                  <a:moveTo>
                    <a:pt x="935" y="1428"/>
                  </a:moveTo>
                  <a:cubicBezTo>
                    <a:pt x="935" y="1429"/>
                    <a:pt x="935" y="1429"/>
                    <a:pt x="935" y="1429"/>
                  </a:cubicBezTo>
                  <a:cubicBezTo>
                    <a:pt x="935" y="1429"/>
                    <a:pt x="935" y="1429"/>
                    <a:pt x="935" y="1429"/>
                  </a:cubicBezTo>
                  <a:cubicBezTo>
                    <a:pt x="935" y="1429"/>
                    <a:pt x="935" y="1428"/>
                    <a:pt x="935" y="1428"/>
                  </a:cubicBezTo>
                  <a:close/>
                  <a:moveTo>
                    <a:pt x="5763" y="663"/>
                  </a:moveTo>
                  <a:cubicBezTo>
                    <a:pt x="5752" y="649"/>
                    <a:pt x="5722" y="644"/>
                    <a:pt x="5722" y="644"/>
                  </a:cubicBezTo>
                  <a:cubicBezTo>
                    <a:pt x="5691" y="630"/>
                    <a:pt x="5691" y="630"/>
                    <a:pt x="5691" y="630"/>
                  </a:cubicBezTo>
                  <a:cubicBezTo>
                    <a:pt x="5664" y="631"/>
                    <a:pt x="5664" y="631"/>
                    <a:pt x="5664" y="631"/>
                  </a:cubicBezTo>
                  <a:cubicBezTo>
                    <a:pt x="5644" y="618"/>
                    <a:pt x="5644" y="618"/>
                    <a:pt x="5644" y="618"/>
                  </a:cubicBezTo>
                  <a:cubicBezTo>
                    <a:pt x="5583" y="614"/>
                    <a:pt x="5583" y="614"/>
                    <a:pt x="5583" y="614"/>
                  </a:cubicBezTo>
                  <a:cubicBezTo>
                    <a:pt x="5558" y="602"/>
                    <a:pt x="5558" y="602"/>
                    <a:pt x="5558" y="602"/>
                  </a:cubicBezTo>
                  <a:cubicBezTo>
                    <a:pt x="5534" y="604"/>
                    <a:pt x="5534" y="604"/>
                    <a:pt x="5534" y="604"/>
                  </a:cubicBezTo>
                  <a:cubicBezTo>
                    <a:pt x="5567" y="629"/>
                    <a:pt x="5567" y="629"/>
                    <a:pt x="5567" y="629"/>
                  </a:cubicBezTo>
                  <a:cubicBezTo>
                    <a:pt x="5603" y="645"/>
                    <a:pt x="5603" y="645"/>
                    <a:pt x="5603" y="645"/>
                  </a:cubicBezTo>
                  <a:cubicBezTo>
                    <a:pt x="5603" y="645"/>
                    <a:pt x="5563" y="651"/>
                    <a:pt x="5551" y="641"/>
                  </a:cubicBezTo>
                  <a:cubicBezTo>
                    <a:pt x="5539" y="631"/>
                    <a:pt x="5538" y="609"/>
                    <a:pt x="5485" y="591"/>
                  </a:cubicBezTo>
                  <a:cubicBezTo>
                    <a:pt x="5432" y="573"/>
                    <a:pt x="5416" y="566"/>
                    <a:pt x="5362" y="557"/>
                  </a:cubicBezTo>
                  <a:cubicBezTo>
                    <a:pt x="5308" y="548"/>
                    <a:pt x="5195" y="522"/>
                    <a:pt x="5141" y="509"/>
                  </a:cubicBezTo>
                  <a:cubicBezTo>
                    <a:pt x="5087" y="496"/>
                    <a:pt x="5026" y="487"/>
                    <a:pt x="5026" y="487"/>
                  </a:cubicBezTo>
                  <a:cubicBezTo>
                    <a:pt x="4904" y="489"/>
                    <a:pt x="4904" y="489"/>
                    <a:pt x="4904" y="489"/>
                  </a:cubicBezTo>
                  <a:cubicBezTo>
                    <a:pt x="4895" y="477"/>
                    <a:pt x="4895" y="477"/>
                    <a:pt x="4895" y="477"/>
                  </a:cubicBezTo>
                  <a:cubicBezTo>
                    <a:pt x="4864" y="479"/>
                    <a:pt x="4864" y="479"/>
                    <a:pt x="4864" y="479"/>
                  </a:cubicBezTo>
                  <a:cubicBezTo>
                    <a:pt x="4853" y="471"/>
                    <a:pt x="4853" y="471"/>
                    <a:pt x="4853" y="471"/>
                  </a:cubicBezTo>
                  <a:cubicBezTo>
                    <a:pt x="4817" y="470"/>
                    <a:pt x="4817" y="470"/>
                    <a:pt x="4817" y="470"/>
                  </a:cubicBezTo>
                  <a:cubicBezTo>
                    <a:pt x="4834" y="482"/>
                    <a:pt x="4834" y="482"/>
                    <a:pt x="4834" y="482"/>
                  </a:cubicBezTo>
                  <a:cubicBezTo>
                    <a:pt x="4829" y="496"/>
                    <a:pt x="4829" y="496"/>
                    <a:pt x="4829" y="496"/>
                  </a:cubicBezTo>
                  <a:cubicBezTo>
                    <a:pt x="4829" y="496"/>
                    <a:pt x="4928" y="519"/>
                    <a:pt x="4899" y="532"/>
                  </a:cubicBezTo>
                  <a:cubicBezTo>
                    <a:pt x="4870" y="545"/>
                    <a:pt x="4852" y="528"/>
                    <a:pt x="4852" y="528"/>
                  </a:cubicBezTo>
                  <a:cubicBezTo>
                    <a:pt x="4835" y="514"/>
                    <a:pt x="4835" y="514"/>
                    <a:pt x="4835" y="514"/>
                  </a:cubicBezTo>
                  <a:cubicBezTo>
                    <a:pt x="4790" y="514"/>
                    <a:pt x="4790" y="514"/>
                    <a:pt x="4790" y="514"/>
                  </a:cubicBezTo>
                  <a:cubicBezTo>
                    <a:pt x="4753" y="491"/>
                    <a:pt x="4753" y="491"/>
                    <a:pt x="4753" y="491"/>
                  </a:cubicBezTo>
                  <a:cubicBezTo>
                    <a:pt x="4753" y="491"/>
                    <a:pt x="4735" y="495"/>
                    <a:pt x="4731" y="498"/>
                  </a:cubicBezTo>
                  <a:cubicBezTo>
                    <a:pt x="4727" y="501"/>
                    <a:pt x="4695" y="500"/>
                    <a:pt x="4695" y="500"/>
                  </a:cubicBezTo>
                  <a:cubicBezTo>
                    <a:pt x="4691" y="492"/>
                    <a:pt x="4691" y="492"/>
                    <a:pt x="4691" y="492"/>
                  </a:cubicBezTo>
                  <a:cubicBezTo>
                    <a:pt x="4629" y="495"/>
                    <a:pt x="4629" y="495"/>
                    <a:pt x="4629" y="495"/>
                  </a:cubicBezTo>
                  <a:cubicBezTo>
                    <a:pt x="4613" y="483"/>
                    <a:pt x="4613" y="483"/>
                    <a:pt x="4613" y="483"/>
                  </a:cubicBezTo>
                  <a:cubicBezTo>
                    <a:pt x="4608" y="489"/>
                    <a:pt x="4608" y="489"/>
                    <a:pt x="4608" y="489"/>
                  </a:cubicBezTo>
                  <a:cubicBezTo>
                    <a:pt x="4608" y="489"/>
                    <a:pt x="4530" y="482"/>
                    <a:pt x="4535" y="492"/>
                  </a:cubicBezTo>
                  <a:cubicBezTo>
                    <a:pt x="4540" y="502"/>
                    <a:pt x="4569" y="526"/>
                    <a:pt x="4569" y="526"/>
                  </a:cubicBezTo>
                  <a:cubicBezTo>
                    <a:pt x="4569" y="526"/>
                    <a:pt x="4533" y="505"/>
                    <a:pt x="4528" y="500"/>
                  </a:cubicBezTo>
                  <a:cubicBezTo>
                    <a:pt x="4523" y="495"/>
                    <a:pt x="4457" y="487"/>
                    <a:pt x="4457" y="487"/>
                  </a:cubicBezTo>
                  <a:cubicBezTo>
                    <a:pt x="4457" y="487"/>
                    <a:pt x="4447" y="469"/>
                    <a:pt x="4422" y="456"/>
                  </a:cubicBezTo>
                  <a:cubicBezTo>
                    <a:pt x="4397" y="443"/>
                    <a:pt x="4359" y="437"/>
                    <a:pt x="4342" y="436"/>
                  </a:cubicBezTo>
                  <a:cubicBezTo>
                    <a:pt x="4325" y="435"/>
                    <a:pt x="4290" y="431"/>
                    <a:pt x="4290" y="431"/>
                  </a:cubicBezTo>
                  <a:cubicBezTo>
                    <a:pt x="4256" y="424"/>
                    <a:pt x="4256" y="424"/>
                    <a:pt x="4256" y="424"/>
                  </a:cubicBezTo>
                  <a:cubicBezTo>
                    <a:pt x="4247" y="428"/>
                    <a:pt x="4247" y="428"/>
                    <a:pt x="4247" y="428"/>
                  </a:cubicBezTo>
                  <a:cubicBezTo>
                    <a:pt x="4207" y="426"/>
                    <a:pt x="4207" y="426"/>
                    <a:pt x="4207" y="426"/>
                  </a:cubicBezTo>
                  <a:cubicBezTo>
                    <a:pt x="4207" y="426"/>
                    <a:pt x="4202" y="446"/>
                    <a:pt x="4180" y="443"/>
                  </a:cubicBezTo>
                  <a:cubicBezTo>
                    <a:pt x="4158" y="440"/>
                    <a:pt x="4129" y="438"/>
                    <a:pt x="4129" y="438"/>
                  </a:cubicBezTo>
                  <a:cubicBezTo>
                    <a:pt x="4129" y="438"/>
                    <a:pt x="4099" y="418"/>
                    <a:pt x="4082" y="417"/>
                  </a:cubicBezTo>
                  <a:cubicBezTo>
                    <a:pt x="4065" y="416"/>
                    <a:pt x="4056" y="419"/>
                    <a:pt x="4056" y="419"/>
                  </a:cubicBezTo>
                  <a:cubicBezTo>
                    <a:pt x="4050" y="408"/>
                    <a:pt x="4050" y="408"/>
                    <a:pt x="4050" y="408"/>
                  </a:cubicBezTo>
                  <a:cubicBezTo>
                    <a:pt x="4025" y="406"/>
                    <a:pt x="4025" y="406"/>
                    <a:pt x="4025" y="406"/>
                  </a:cubicBezTo>
                  <a:cubicBezTo>
                    <a:pt x="3982" y="402"/>
                    <a:pt x="3982" y="402"/>
                    <a:pt x="3982" y="402"/>
                  </a:cubicBezTo>
                  <a:cubicBezTo>
                    <a:pt x="4006" y="394"/>
                    <a:pt x="4006" y="394"/>
                    <a:pt x="4006" y="394"/>
                  </a:cubicBezTo>
                  <a:cubicBezTo>
                    <a:pt x="3980" y="381"/>
                    <a:pt x="3980" y="381"/>
                    <a:pt x="3980" y="381"/>
                  </a:cubicBezTo>
                  <a:cubicBezTo>
                    <a:pt x="3980" y="381"/>
                    <a:pt x="3887" y="368"/>
                    <a:pt x="3884" y="374"/>
                  </a:cubicBezTo>
                  <a:cubicBezTo>
                    <a:pt x="3881" y="380"/>
                    <a:pt x="3893" y="399"/>
                    <a:pt x="3878" y="400"/>
                  </a:cubicBezTo>
                  <a:cubicBezTo>
                    <a:pt x="3863" y="401"/>
                    <a:pt x="3843" y="397"/>
                    <a:pt x="3843" y="397"/>
                  </a:cubicBezTo>
                  <a:cubicBezTo>
                    <a:pt x="3855" y="389"/>
                    <a:pt x="3855" y="389"/>
                    <a:pt x="3855" y="389"/>
                  </a:cubicBezTo>
                  <a:cubicBezTo>
                    <a:pt x="3845" y="379"/>
                    <a:pt x="3845" y="379"/>
                    <a:pt x="3845" y="379"/>
                  </a:cubicBezTo>
                  <a:cubicBezTo>
                    <a:pt x="3845" y="379"/>
                    <a:pt x="3839" y="379"/>
                    <a:pt x="3825" y="381"/>
                  </a:cubicBezTo>
                  <a:cubicBezTo>
                    <a:pt x="3811" y="383"/>
                    <a:pt x="3797" y="378"/>
                    <a:pt x="3797" y="378"/>
                  </a:cubicBezTo>
                  <a:cubicBezTo>
                    <a:pt x="3808" y="373"/>
                    <a:pt x="3808" y="373"/>
                    <a:pt x="3808" y="373"/>
                  </a:cubicBezTo>
                  <a:cubicBezTo>
                    <a:pt x="3838" y="370"/>
                    <a:pt x="3838" y="370"/>
                    <a:pt x="3838" y="370"/>
                  </a:cubicBezTo>
                  <a:cubicBezTo>
                    <a:pt x="3876" y="393"/>
                    <a:pt x="3876" y="393"/>
                    <a:pt x="3876" y="393"/>
                  </a:cubicBezTo>
                  <a:cubicBezTo>
                    <a:pt x="3878" y="374"/>
                    <a:pt x="3878" y="374"/>
                    <a:pt x="3878" y="374"/>
                  </a:cubicBezTo>
                  <a:cubicBezTo>
                    <a:pt x="3839" y="361"/>
                    <a:pt x="3839" y="361"/>
                    <a:pt x="3839" y="361"/>
                  </a:cubicBezTo>
                  <a:cubicBezTo>
                    <a:pt x="3766" y="365"/>
                    <a:pt x="3766" y="365"/>
                    <a:pt x="3766" y="365"/>
                  </a:cubicBezTo>
                  <a:cubicBezTo>
                    <a:pt x="3765" y="356"/>
                    <a:pt x="3765" y="356"/>
                    <a:pt x="3765" y="356"/>
                  </a:cubicBezTo>
                  <a:cubicBezTo>
                    <a:pt x="3684" y="361"/>
                    <a:pt x="3684" y="361"/>
                    <a:pt x="3684" y="361"/>
                  </a:cubicBezTo>
                  <a:cubicBezTo>
                    <a:pt x="3653" y="348"/>
                    <a:pt x="3653" y="348"/>
                    <a:pt x="3653" y="348"/>
                  </a:cubicBezTo>
                  <a:cubicBezTo>
                    <a:pt x="3640" y="348"/>
                    <a:pt x="3640" y="348"/>
                    <a:pt x="3640" y="348"/>
                  </a:cubicBezTo>
                  <a:cubicBezTo>
                    <a:pt x="3665" y="364"/>
                    <a:pt x="3665" y="364"/>
                    <a:pt x="3665" y="364"/>
                  </a:cubicBezTo>
                  <a:cubicBezTo>
                    <a:pt x="3665" y="364"/>
                    <a:pt x="3613" y="363"/>
                    <a:pt x="3621" y="371"/>
                  </a:cubicBezTo>
                  <a:cubicBezTo>
                    <a:pt x="3629" y="379"/>
                    <a:pt x="3639" y="384"/>
                    <a:pt x="3639" y="384"/>
                  </a:cubicBezTo>
                  <a:cubicBezTo>
                    <a:pt x="3660" y="382"/>
                    <a:pt x="3660" y="382"/>
                    <a:pt x="3660" y="382"/>
                  </a:cubicBezTo>
                  <a:cubicBezTo>
                    <a:pt x="3660" y="387"/>
                    <a:pt x="3660" y="387"/>
                    <a:pt x="3660" y="387"/>
                  </a:cubicBezTo>
                  <a:cubicBezTo>
                    <a:pt x="3699" y="413"/>
                    <a:pt x="3699" y="413"/>
                    <a:pt x="3699" y="413"/>
                  </a:cubicBezTo>
                  <a:cubicBezTo>
                    <a:pt x="3699" y="413"/>
                    <a:pt x="3693" y="414"/>
                    <a:pt x="3678" y="413"/>
                  </a:cubicBezTo>
                  <a:cubicBezTo>
                    <a:pt x="3663" y="412"/>
                    <a:pt x="3643" y="397"/>
                    <a:pt x="3638" y="402"/>
                  </a:cubicBezTo>
                  <a:cubicBezTo>
                    <a:pt x="3633" y="407"/>
                    <a:pt x="3629" y="410"/>
                    <a:pt x="3629" y="410"/>
                  </a:cubicBezTo>
                  <a:cubicBezTo>
                    <a:pt x="3646" y="424"/>
                    <a:pt x="3646" y="424"/>
                    <a:pt x="3646" y="424"/>
                  </a:cubicBezTo>
                  <a:cubicBezTo>
                    <a:pt x="3610" y="419"/>
                    <a:pt x="3610" y="419"/>
                    <a:pt x="3610" y="419"/>
                  </a:cubicBezTo>
                  <a:cubicBezTo>
                    <a:pt x="3610" y="419"/>
                    <a:pt x="3561" y="403"/>
                    <a:pt x="3553" y="404"/>
                  </a:cubicBezTo>
                  <a:cubicBezTo>
                    <a:pt x="3545" y="405"/>
                    <a:pt x="3517" y="417"/>
                    <a:pt x="3517" y="417"/>
                  </a:cubicBezTo>
                  <a:cubicBezTo>
                    <a:pt x="3472" y="413"/>
                    <a:pt x="3472" y="413"/>
                    <a:pt x="3472" y="413"/>
                  </a:cubicBezTo>
                  <a:cubicBezTo>
                    <a:pt x="3472" y="413"/>
                    <a:pt x="3434" y="395"/>
                    <a:pt x="3431" y="391"/>
                  </a:cubicBezTo>
                  <a:cubicBezTo>
                    <a:pt x="3428" y="387"/>
                    <a:pt x="3421" y="397"/>
                    <a:pt x="3424" y="405"/>
                  </a:cubicBezTo>
                  <a:cubicBezTo>
                    <a:pt x="3427" y="413"/>
                    <a:pt x="3454" y="441"/>
                    <a:pt x="3438" y="442"/>
                  </a:cubicBezTo>
                  <a:cubicBezTo>
                    <a:pt x="3422" y="443"/>
                    <a:pt x="3343" y="414"/>
                    <a:pt x="3340" y="412"/>
                  </a:cubicBezTo>
                  <a:cubicBezTo>
                    <a:pt x="3337" y="410"/>
                    <a:pt x="3318" y="393"/>
                    <a:pt x="3318" y="393"/>
                  </a:cubicBezTo>
                  <a:cubicBezTo>
                    <a:pt x="3316" y="403"/>
                    <a:pt x="3316" y="403"/>
                    <a:pt x="3316" y="403"/>
                  </a:cubicBezTo>
                  <a:cubicBezTo>
                    <a:pt x="3279" y="392"/>
                    <a:pt x="3279" y="392"/>
                    <a:pt x="3279" y="392"/>
                  </a:cubicBezTo>
                  <a:cubicBezTo>
                    <a:pt x="3262" y="380"/>
                    <a:pt x="3262" y="380"/>
                    <a:pt x="3262" y="380"/>
                  </a:cubicBezTo>
                  <a:cubicBezTo>
                    <a:pt x="3262" y="380"/>
                    <a:pt x="3300" y="390"/>
                    <a:pt x="3306" y="385"/>
                  </a:cubicBezTo>
                  <a:cubicBezTo>
                    <a:pt x="3312" y="380"/>
                    <a:pt x="3283" y="366"/>
                    <a:pt x="3283" y="366"/>
                  </a:cubicBezTo>
                  <a:cubicBezTo>
                    <a:pt x="3260" y="366"/>
                    <a:pt x="3260" y="366"/>
                    <a:pt x="3260" y="366"/>
                  </a:cubicBezTo>
                  <a:cubicBezTo>
                    <a:pt x="3260" y="366"/>
                    <a:pt x="3271" y="360"/>
                    <a:pt x="3264" y="355"/>
                  </a:cubicBezTo>
                  <a:cubicBezTo>
                    <a:pt x="3257" y="350"/>
                    <a:pt x="3237" y="350"/>
                    <a:pt x="3237" y="350"/>
                  </a:cubicBezTo>
                  <a:cubicBezTo>
                    <a:pt x="3245" y="341"/>
                    <a:pt x="3245" y="341"/>
                    <a:pt x="3245" y="341"/>
                  </a:cubicBezTo>
                  <a:cubicBezTo>
                    <a:pt x="3245" y="341"/>
                    <a:pt x="3213" y="332"/>
                    <a:pt x="3209" y="332"/>
                  </a:cubicBezTo>
                  <a:cubicBezTo>
                    <a:pt x="3205" y="332"/>
                    <a:pt x="3190" y="322"/>
                    <a:pt x="3190" y="322"/>
                  </a:cubicBezTo>
                  <a:cubicBezTo>
                    <a:pt x="3159" y="322"/>
                    <a:pt x="3159" y="322"/>
                    <a:pt x="3159" y="322"/>
                  </a:cubicBezTo>
                  <a:cubicBezTo>
                    <a:pt x="3159" y="322"/>
                    <a:pt x="3168" y="325"/>
                    <a:pt x="3145" y="326"/>
                  </a:cubicBezTo>
                  <a:cubicBezTo>
                    <a:pt x="3122" y="327"/>
                    <a:pt x="3107" y="319"/>
                    <a:pt x="3107" y="319"/>
                  </a:cubicBezTo>
                  <a:cubicBezTo>
                    <a:pt x="3093" y="325"/>
                    <a:pt x="3093" y="325"/>
                    <a:pt x="3093" y="325"/>
                  </a:cubicBezTo>
                  <a:cubicBezTo>
                    <a:pt x="3091" y="316"/>
                    <a:pt x="3091" y="316"/>
                    <a:pt x="3091" y="316"/>
                  </a:cubicBezTo>
                  <a:cubicBezTo>
                    <a:pt x="3059" y="310"/>
                    <a:pt x="3059" y="310"/>
                    <a:pt x="3059" y="310"/>
                  </a:cubicBezTo>
                  <a:cubicBezTo>
                    <a:pt x="3052" y="304"/>
                    <a:pt x="3052" y="304"/>
                    <a:pt x="3052" y="304"/>
                  </a:cubicBezTo>
                  <a:cubicBezTo>
                    <a:pt x="3047" y="317"/>
                    <a:pt x="3047" y="317"/>
                    <a:pt x="3047" y="317"/>
                  </a:cubicBezTo>
                  <a:cubicBezTo>
                    <a:pt x="3038" y="318"/>
                    <a:pt x="3038" y="318"/>
                    <a:pt x="3038" y="318"/>
                  </a:cubicBezTo>
                  <a:cubicBezTo>
                    <a:pt x="3056" y="333"/>
                    <a:pt x="3056" y="333"/>
                    <a:pt x="3056" y="333"/>
                  </a:cubicBezTo>
                  <a:cubicBezTo>
                    <a:pt x="3073" y="353"/>
                    <a:pt x="3073" y="353"/>
                    <a:pt x="3073" y="353"/>
                  </a:cubicBezTo>
                  <a:cubicBezTo>
                    <a:pt x="3039" y="349"/>
                    <a:pt x="3039" y="349"/>
                    <a:pt x="3039" y="349"/>
                  </a:cubicBezTo>
                  <a:cubicBezTo>
                    <a:pt x="3035" y="343"/>
                    <a:pt x="3035" y="343"/>
                    <a:pt x="3035" y="343"/>
                  </a:cubicBezTo>
                  <a:cubicBezTo>
                    <a:pt x="2991" y="346"/>
                    <a:pt x="2991" y="346"/>
                    <a:pt x="2991" y="346"/>
                  </a:cubicBezTo>
                  <a:cubicBezTo>
                    <a:pt x="2980" y="350"/>
                    <a:pt x="2980" y="350"/>
                    <a:pt x="2980" y="350"/>
                  </a:cubicBezTo>
                  <a:cubicBezTo>
                    <a:pt x="2979" y="342"/>
                    <a:pt x="2979" y="342"/>
                    <a:pt x="2979" y="342"/>
                  </a:cubicBezTo>
                  <a:cubicBezTo>
                    <a:pt x="2950" y="348"/>
                    <a:pt x="2950" y="348"/>
                    <a:pt x="2950" y="348"/>
                  </a:cubicBezTo>
                  <a:cubicBezTo>
                    <a:pt x="2945" y="340"/>
                    <a:pt x="2945" y="340"/>
                    <a:pt x="2945" y="340"/>
                  </a:cubicBezTo>
                  <a:cubicBezTo>
                    <a:pt x="2907" y="341"/>
                    <a:pt x="2907" y="341"/>
                    <a:pt x="2907" y="341"/>
                  </a:cubicBezTo>
                  <a:cubicBezTo>
                    <a:pt x="2885" y="334"/>
                    <a:pt x="2885" y="334"/>
                    <a:pt x="2885" y="334"/>
                  </a:cubicBezTo>
                  <a:cubicBezTo>
                    <a:pt x="2896" y="320"/>
                    <a:pt x="2896" y="320"/>
                    <a:pt x="2896" y="320"/>
                  </a:cubicBezTo>
                  <a:cubicBezTo>
                    <a:pt x="2811" y="319"/>
                    <a:pt x="2811" y="319"/>
                    <a:pt x="2811" y="319"/>
                  </a:cubicBezTo>
                  <a:cubicBezTo>
                    <a:pt x="2806" y="313"/>
                    <a:pt x="2806" y="313"/>
                    <a:pt x="2806" y="313"/>
                  </a:cubicBezTo>
                  <a:cubicBezTo>
                    <a:pt x="2800" y="316"/>
                    <a:pt x="2800" y="316"/>
                    <a:pt x="2800" y="316"/>
                  </a:cubicBezTo>
                  <a:cubicBezTo>
                    <a:pt x="2794" y="312"/>
                    <a:pt x="2794" y="312"/>
                    <a:pt x="2794" y="312"/>
                  </a:cubicBezTo>
                  <a:cubicBezTo>
                    <a:pt x="2759" y="314"/>
                    <a:pt x="2759" y="314"/>
                    <a:pt x="2759" y="314"/>
                  </a:cubicBezTo>
                  <a:cubicBezTo>
                    <a:pt x="2763" y="322"/>
                    <a:pt x="2763" y="322"/>
                    <a:pt x="2763" y="322"/>
                  </a:cubicBezTo>
                  <a:cubicBezTo>
                    <a:pt x="2726" y="318"/>
                    <a:pt x="2726" y="318"/>
                    <a:pt x="2726" y="318"/>
                  </a:cubicBezTo>
                  <a:cubicBezTo>
                    <a:pt x="2716" y="323"/>
                    <a:pt x="2716" y="323"/>
                    <a:pt x="2716" y="323"/>
                  </a:cubicBezTo>
                  <a:cubicBezTo>
                    <a:pt x="2737" y="330"/>
                    <a:pt x="2737" y="330"/>
                    <a:pt x="2737" y="330"/>
                  </a:cubicBezTo>
                  <a:cubicBezTo>
                    <a:pt x="2710" y="329"/>
                    <a:pt x="2710" y="329"/>
                    <a:pt x="2710" y="329"/>
                  </a:cubicBezTo>
                  <a:cubicBezTo>
                    <a:pt x="2707" y="317"/>
                    <a:pt x="2707" y="317"/>
                    <a:pt x="2707" y="317"/>
                  </a:cubicBezTo>
                  <a:cubicBezTo>
                    <a:pt x="2690" y="302"/>
                    <a:pt x="2690" y="302"/>
                    <a:pt x="2690" y="302"/>
                  </a:cubicBezTo>
                  <a:cubicBezTo>
                    <a:pt x="2676" y="302"/>
                    <a:pt x="2676" y="302"/>
                    <a:pt x="2676" y="302"/>
                  </a:cubicBezTo>
                  <a:cubicBezTo>
                    <a:pt x="2683" y="317"/>
                    <a:pt x="2683" y="317"/>
                    <a:pt x="2683" y="317"/>
                  </a:cubicBezTo>
                  <a:cubicBezTo>
                    <a:pt x="2648" y="317"/>
                    <a:pt x="2648" y="317"/>
                    <a:pt x="2648" y="317"/>
                  </a:cubicBezTo>
                  <a:cubicBezTo>
                    <a:pt x="2644" y="312"/>
                    <a:pt x="2644" y="312"/>
                    <a:pt x="2644" y="312"/>
                  </a:cubicBezTo>
                  <a:cubicBezTo>
                    <a:pt x="2635" y="312"/>
                    <a:pt x="2635" y="312"/>
                    <a:pt x="2635" y="312"/>
                  </a:cubicBezTo>
                  <a:cubicBezTo>
                    <a:pt x="2631" y="302"/>
                    <a:pt x="2631" y="302"/>
                    <a:pt x="2631" y="302"/>
                  </a:cubicBezTo>
                  <a:cubicBezTo>
                    <a:pt x="2622" y="302"/>
                    <a:pt x="2622" y="302"/>
                    <a:pt x="2622" y="302"/>
                  </a:cubicBezTo>
                  <a:cubicBezTo>
                    <a:pt x="2611" y="305"/>
                    <a:pt x="2611" y="305"/>
                    <a:pt x="2611" y="305"/>
                  </a:cubicBezTo>
                  <a:cubicBezTo>
                    <a:pt x="2595" y="297"/>
                    <a:pt x="2595" y="297"/>
                    <a:pt x="2595" y="297"/>
                  </a:cubicBezTo>
                  <a:cubicBezTo>
                    <a:pt x="2575" y="311"/>
                    <a:pt x="2575" y="311"/>
                    <a:pt x="2575" y="311"/>
                  </a:cubicBezTo>
                  <a:cubicBezTo>
                    <a:pt x="2611" y="315"/>
                    <a:pt x="2611" y="315"/>
                    <a:pt x="2611" y="315"/>
                  </a:cubicBezTo>
                  <a:cubicBezTo>
                    <a:pt x="2619" y="316"/>
                    <a:pt x="2619" y="316"/>
                    <a:pt x="2619" y="316"/>
                  </a:cubicBezTo>
                  <a:cubicBezTo>
                    <a:pt x="2619" y="316"/>
                    <a:pt x="2606" y="327"/>
                    <a:pt x="2599" y="327"/>
                  </a:cubicBezTo>
                  <a:cubicBezTo>
                    <a:pt x="2592" y="327"/>
                    <a:pt x="2587" y="326"/>
                    <a:pt x="2581" y="328"/>
                  </a:cubicBezTo>
                  <a:cubicBezTo>
                    <a:pt x="2575" y="330"/>
                    <a:pt x="2573" y="336"/>
                    <a:pt x="2568" y="336"/>
                  </a:cubicBezTo>
                  <a:cubicBezTo>
                    <a:pt x="2563" y="336"/>
                    <a:pt x="2519" y="337"/>
                    <a:pt x="2519" y="337"/>
                  </a:cubicBezTo>
                  <a:cubicBezTo>
                    <a:pt x="2497" y="340"/>
                    <a:pt x="2497" y="340"/>
                    <a:pt x="2497" y="340"/>
                  </a:cubicBezTo>
                  <a:cubicBezTo>
                    <a:pt x="2487" y="357"/>
                    <a:pt x="2487" y="357"/>
                    <a:pt x="2487" y="357"/>
                  </a:cubicBezTo>
                  <a:cubicBezTo>
                    <a:pt x="2471" y="353"/>
                    <a:pt x="2471" y="353"/>
                    <a:pt x="2471" y="353"/>
                  </a:cubicBezTo>
                  <a:cubicBezTo>
                    <a:pt x="2471" y="353"/>
                    <a:pt x="2474" y="337"/>
                    <a:pt x="2482" y="333"/>
                  </a:cubicBezTo>
                  <a:cubicBezTo>
                    <a:pt x="2490" y="329"/>
                    <a:pt x="2502" y="329"/>
                    <a:pt x="2502" y="329"/>
                  </a:cubicBezTo>
                  <a:cubicBezTo>
                    <a:pt x="2507" y="318"/>
                    <a:pt x="2507" y="318"/>
                    <a:pt x="2507" y="318"/>
                  </a:cubicBezTo>
                  <a:cubicBezTo>
                    <a:pt x="2535" y="315"/>
                    <a:pt x="2535" y="315"/>
                    <a:pt x="2535" y="315"/>
                  </a:cubicBezTo>
                  <a:cubicBezTo>
                    <a:pt x="2565" y="293"/>
                    <a:pt x="2565" y="293"/>
                    <a:pt x="2565" y="293"/>
                  </a:cubicBezTo>
                  <a:cubicBezTo>
                    <a:pt x="2565" y="293"/>
                    <a:pt x="2564" y="280"/>
                    <a:pt x="2576" y="275"/>
                  </a:cubicBezTo>
                  <a:cubicBezTo>
                    <a:pt x="2588" y="270"/>
                    <a:pt x="2637" y="271"/>
                    <a:pt x="2635" y="253"/>
                  </a:cubicBezTo>
                  <a:cubicBezTo>
                    <a:pt x="2633" y="235"/>
                    <a:pt x="2618" y="231"/>
                    <a:pt x="2618" y="231"/>
                  </a:cubicBezTo>
                  <a:cubicBezTo>
                    <a:pt x="2591" y="233"/>
                    <a:pt x="2591" y="233"/>
                    <a:pt x="2591" y="233"/>
                  </a:cubicBezTo>
                  <a:cubicBezTo>
                    <a:pt x="2614" y="223"/>
                    <a:pt x="2614" y="223"/>
                    <a:pt x="2614" y="223"/>
                  </a:cubicBezTo>
                  <a:cubicBezTo>
                    <a:pt x="2614" y="223"/>
                    <a:pt x="2594" y="208"/>
                    <a:pt x="2589" y="209"/>
                  </a:cubicBezTo>
                  <a:cubicBezTo>
                    <a:pt x="2584" y="210"/>
                    <a:pt x="2567" y="211"/>
                    <a:pt x="2567" y="211"/>
                  </a:cubicBezTo>
                  <a:cubicBezTo>
                    <a:pt x="2567" y="211"/>
                    <a:pt x="2561" y="195"/>
                    <a:pt x="2548" y="195"/>
                  </a:cubicBezTo>
                  <a:cubicBezTo>
                    <a:pt x="2535" y="195"/>
                    <a:pt x="2521" y="200"/>
                    <a:pt x="2521" y="200"/>
                  </a:cubicBezTo>
                  <a:cubicBezTo>
                    <a:pt x="2485" y="191"/>
                    <a:pt x="2485" y="191"/>
                    <a:pt x="2485" y="191"/>
                  </a:cubicBezTo>
                  <a:cubicBezTo>
                    <a:pt x="2391" y="188"/>
                    <a:pt x="2391" y="188"/>
                    <a:pt x="2391" y="188"/>
                  </a:cubicBezTo>
                  <a:cubicBezTo>
                    <a:pt x="2394" y="200"/>
                    <a:pt x="2394" y="200"/>
                    <a:pt x="2394" y="200"/>
                  </a:cubicBezTo>
                  <a:cubicBezTo>
                    <a:pt x="2349" y="200"/>
                    <a:pt x="2349" y="200"/>
                    <a:pt x="2349" y="200"/>
                  </a:cubicBezTo>
                  <a:cubicBezTo>
                    <a:pt x="2349" y="200"/>
                    <a:pt x="2368" y="183"/>
                    <a:pt x="2356" y="178"/>
                  </a:cubicBezTo>
                  <a:cubicBezTo>
                    <a:pt x="2344" y="173"/>
                    <a:pt x="2293" y="179"/>
                    <a:pt x="2293" y="179"/>
                  </a:cubicBezTo>
                  <a:cubicBezTo>
                    <a:pt x="2252" y="175"/>
                    <a:pt x="2252" y="175"/>
                    <a:pt x="2252" y="175"/>
                  </a:cubicBezTo>
                  <a:cubicBezTo>
                    <a:pt x="2252" y="175"/>
                    <a:pt x="2299" y="173"/>
                    <a:pt x="2293" y="164"/>
                  </a:cubicBezTo>
                  <a:cubicBezTo>
                    <a:pt x="2287" y="155"/>
                    <a:pt x="2240" y="154"/>
                    <a:pt x="2240" y="154"/>
                  </a:cubicBezTo>
                  <a:cubicBezTo>
                    <a:pt x="2212" y="150"/>
                    <a:pt x="2212" y="150"/>
                    <a:pt x="2212" y="150"/>
                  </a:cubicBezTo>
                  <a:cubicBezTo>
                    <a:pt x="2209" y="160"/>
                    <a:pt x="2209" y="160"/>
                    <a:pt x="2209" y="160"/>
                  </a:cubicBezTo>
                  <a:cubicBezTo>
                    <a:pt x="2209" y="160"/>
                    <a:pt x="2160" y="158"/>
                    <a:pt x="2164" y="172"/>
                  </a:cubicBezTo>
                  <a:cubicBezTo>
                    <a:pt x="2168" y="186"/>
                    <a:pt x="2214" y="201"/>
                    <a:pt x="2214" y="201"/>
                  </a:cubicBezTo>
                  <a:cubicBezTo>
                    <a:pt x="2118" y="195"/>
                    <a:pt x="2118" y="195"/>
                    <a:pt x="2118" y="195"/>
                  </a:cubicBezTo>
                  <a:cubicBezTo>
                    <a:pt x="2152" y="209"/>
                    <a:pt x="2152" y="209"/>
                    <a:pt x="2152" y="209"/>
                  </a:cubicBezTo>
                  <a:cubicBezTo>
                    <a:pt x="2117" y="214"/>
                    <a:pt x="2117" y="214"/>
                    <a:pt x="2117" y="214"/>
                  </a:cubicBezTo>
                  <a:cubicBezTo>
                    <a:pt x="2117" y="214"/>
                    <a:pt x="2060" y="232"/>
                    <a:pt x="2050" y="226"/>
                  </a:cubicBezTo>
                  <a:cubicBezTo>
                    <a:pt x="2040" y="220"/>
                    <a:pt x="2055" y="208"/>
                    <a:pt x="2055" y="208"/>
                  </a:cubicBezTo>
                  <a:cubicBezTo>
                    <a:pt x="2055" y="208"/>
                    <a:pt x="2007" y="208"/>
                    <a:pt x="1998" y="210"/>
                  </a:cubicBezTo>
                  <a:cubicBezTo>
                    <a:pt x="1989" y="212"/>
                    <a:pt x="1975" y="224"/>
                    <a:pt x="1975" y="224"/>
                  </a:cubicBezTo>
                  <a:cubicBezTo>
                    <a:pt x="1975" y="224"/>
                    <a:pt x="1912" y="229"/>
                    <a:pt x="1897" y="232"/>
                  </a:cubicBezTo>
                  <a:cubicBezTo>
                    <a:pt x="1882" y="235"/>
                    <a:pt x="1849" y="242"/>
                    <a:pt x="1849" y="242"/>
                  </a:cubicBezTo>
                  <a:cubicBezTo>
                    <a:pt x="1820" y="265"/>
                    <a:pt x="1820" y="265"/>
                    <a:pt x="1820" y="265"/>
                  </a:cubicBezTo>
                  <a:cubicBezTo>
                    <a:pt x="1820" y="265"/>
                    <a:pt x="1788" y="263"/>
                    <a:pt x="1802" y="277"/>
                  </a:cubicBezTo>
                  <a:cubicBezTo>
                    <a:pt x="1816" y="291"/>
                    <a:pt x="1841" y="301"/>
                    <a:pt x="1841" y="301"/>
                  </a:cubicBezTo>
                  <a:cubicBezTo>
                    <a:pt x="1811" y="307"/>
                    <a:pt x="1811" y="307"/>
                    <a:pt x="1811" y="307"/>
                  </a:cubicBezTo>
                  <a:cubicBezTo>
                    <a:pt x="1797" y="316"/>
                    <a:pt x="1797" y="316"/>
                    <a:pt x="1797" y="316"/>
                  </a:cubicBezTo>
                  <a:cubicBezTo>
                    <a:pt x="1730" y="314"/>
                    <a:pt x="1730" y="314"/>
                    <a:pt x="1730" y="314"/>
                  </a:cubicBezTo>
                  <a:cubicBezTo>
                    <a:pt x="1725" y="319"/>
                    <a:pt x="1725" y="319"/>
                    <a:pt x="1725" y="319"/>
                  </a:cubicBezTo>
                  <a:cubicBezTo>
                    <a:pt x="1700" y="310"/>
                    <a:pt x="1700" y="310"/>
                    <a:pt x="1700" y="310"/>
                  </a:cubicBezTo>
                  <a:cubicBezTo>
                    <a:pt x="1689" y="317"/>
                    <a:pt x="1689" y="317"/>
                    <a:pt x="1689" y="317"/>
                  </a:cubicBezTo>
                  <a:cubicBezTo>
                    <a:pt x="1689" y="317"/>
                    <a:pt x="1651" y="313"/>
                    <a:pt x="1649" y="321"/>
                  </a:cubicBezTo>
                  <a:cubicBezTo>
                    <a:pt x="1647" y="329"/>
                    <a:pt x="1648" y="344"/>
                    <a:pt x="1659" y="346"/>
                  </a:cubicBezTo>
                  <a:cubicBezTo>
                    <a:pt x="1670" y="348"/>
                    <a:pt x="1676" y="364"/>
                    <a:pt x="1676" y="364"/>
                  </a:cubicBezTo>
                  <a:cubicBezTo>
                    <a:pt x="1676" y="364"/>
                    <a:pt x="1711" y="374"/>
                    <a:pt x="1720" y="374"/>
                  </a:cubicBezTo>
                  <a:cubicBezTo>
                    <a:pt x="1729" y="374"/>
                    <a:pt x="1748" y="379"/>
                    <a:pt x="1755" y="382"/>
                  </a:cubicBezTo>
                  <a:cubicBezTo>
                    <a:pt x="1762" y="385"/>
                    <a:pt x="1778" y="401"/>
                    <a:pt x="1767" y="401"/>
                  </a:cubicBezTo>
                  <a:cubicBezTo>
                    <a:pt x="1756" y="401"/>
                    <a:pt x="1732" y="403"/>
                    <a:pt x="1732" y="403"/>
                  </a:cubicBezTo>
                  <a:cubicBezTo>
                    <a:pt x="1732" y="403"/>
                    <a:pt x="1686" y="383"/>
                    <a:pt x="1670" y="379"/>
                  </a:cubicBezTo>
                  <a:cubicBezTo>
                    <a:pt x="1654" y="375"/>
                    <a:pt x="1630" y="372"/>
                    <a:pt x="1622" y="372"/>
                  </a:cubicBezTo>
                  <a:cubicBezTo>
                    <a:pt x="1614" y="372"/>
                    <a:pt x="1593" y="370"/>
                    <a:pt x="1595" y="378"/>
                  </a:cubicBezTo>
                  <a:cubicBezTo>
                    <a:pt x="1597" y="386"/>
                    <a:pt x="1623" y="396"/>
                    <a:pt x="1606" y="397"/>
                  </a:cubicBezTo>
                  <a:cubicBezTo>
                    <a:pt x="1589" y="398"/>
                    <a:pt x="1583" y="386"/>
                    <a:pt x="1573" y="386"/>
                  </a:cubicBezTo>
                  <a:cubicBezTo>
                    <a:pt x="1563" y="386"/>
                    <a:pt x="1549" y="376"/>
                    <a:pt x="1548" y="389"/>
                  </a:cubicBezTo>
                  <a:cubicBezTo>
                    <a:pt x="1547" y="402"/>
                    <a:pt x="1561" y="415"/>
                    <a:pt x="1576" y="414"/>
                  </a:cubicBezTo>
                  <a:cubicBezTo>
                    <a:pt x="1591" y="413"/>
                    <a:pt x="1614" y="420"/>
                    <a:pt x="1624" y="420"/>
                  </a:cubicBezTo>
                  <a:cubicBezTo>
                    <a:pt x="1634" y="420"/>
                    <a:pt x="1650" y="436"/>
                    <a:pt x="1650" y="436"/>
                  </a:cubicBezTo>
                  <a:cubicBezTo>
                    <a:pt x="1629" y="436"/>
                    <a:pt x="1629" y="436"/>
                    <a:pt x="1629" y="436"/>
                  </a:cubicBezTo>
                  <a:cubicBezTo>
                    <a:pt x="1629" y="436"/>
                    <a:pt x="1623" y="426"/>
                    <a:pt x="1609" y="426"/>
                  </a:cubicBezTo>
                  <a:cubicBezTo>
                    <a:pt x="1595" y="426"/>
                    <a:pt x="1552" y="424"/>
                    <a:pt x="1552" y="424"/>
                  </a:cubicBezTo>
                  <a:cubicBezTo>
                    <a:pt x="1549" y="416"/>
                    <a:pt x="1549" y="416"/>
                    <a:pt x="1549" y="416"/>
                  </a:cubicBezTo>
                  <a:cubicBezTo>
                    <a:pt x="1532" y="416"/>
                    <a:pt x="1532" y="416"/>
                    <a:pt x="1532" y="416"/>
                  </a:cubicBezTo>
                  <a:cubicBezTo>
                    <a:pt x="1529" y="405"/>
                    <a:pt x="1529" y="405"/>
                    <a:pt x="1529" y="405"/>
                  </a:cubicBezTo>
                  <a:cubicBezTo>
                    <a:pt x="1507" y="394"/>
                    <a:pt x="1507" y="394"/>
                    <a:pt x="1507" y="394"/>
                  </a:cubicBezTo>
                  <a:cubicBezTo>
                    <a:pt x="1507" y="394"/>
                    <a:pt x="1532" y="382"/>
                    <a:pt x="1522" y="373"/>
                  </a:cubicBezTo>
                  <a:cubicBezTo>
                    <a:pt x="1512" y="364"/>
                    <a:pt x="1498" y="353"/>
                    <a:pt x="1498" y="353"/>
                  </a:cubicBezTo>
                  <a:cubicBezTo>
                    <a:pt x="1477" y="352"/>
                    <a:pt x="1477" y="352"/>
                    <a:pt x="1477" y="352"/>
                  </a:cubicBezTo>
                  <a:cubicBezTo>
                    <a:pt x="1477" y="352"/>
                    <a:pt x="1507" y="369"/>
                    <a:pt x="1498" y="377"/>
                  </a:cubicBezTo>
                  <a:cubicBezTo>
                    <a:pt x="1489" y="385"/>
                    <a:pt x="1469" y="388"/>
                    <a:pt x="1469" y="388"/>
                  </a:cubicBezTo>
                  <a:cubicBezTo>
                    <a:pt x="1456" y="415"/>
                    <a:pt x="1456" y="415"/>
                    <a:pt x="1456" y="415"/>
                  </a:cubicBezTo>
                  <a:cubicBezTo>
                    <a:pt x="1505" y="440"/>
                    <a:pt x="1505" y="440"/>
                    <a:pt x="1505" y="440"/>
                  </a:cubicBezTo>
                  <a:cubicBezTo>
                    <a:pt x="1505" y="440"/>
                    <a:pt x="1518" y="435"/>
                    <a:pt x="1518" y="441"/>
                  </a:cubicBezTo>
                  <a:cubicBezTo>
                    <a:pt x="1518" y="447"/>
                    <a:pt x="1511" y="478"/>
                    <a:pt x="1511" y="478"/>
                  </a:cubicBezTo>
                  <a:cubicBezTo>
                    <a:pt x="1518" y="491"/>
                    <a:pt x="1518" y="491"/>
                    <a:pt x="1518" y="491"/>
                  </a:cubicBezTo>
                  <a:cubicBezTo>
                    <a:pt x="1542" y="495"/>
                    <a:pt x="1542" y="495"/>
                    <a:pt x="1542" y="495"/>
                  </a:cubicBezTo>
                  <a:cubicBezTo>
                    <a:pt x="1541" y="513"/>
                    <a:pt x="1541" y="513"/>
                    <a:pt x="1541" y="513"/>
                  </a:cubicBezTo>
                  <a:cubicBezTo>
                    <a:pt x="1581" y="521"/>
                    <a:pt x="1581" y="521"/>
                    <a:pt x="1581" y="521"/>
                  </a:cubicBezTo>
                  <a:cubicBezTo>
                    <a:pt x="1581" y="521"/>
                    <a:pt x="1611" y="509"/>
                    <a:pt x="1625" y="510"/>
                  </a:cubicBezTo>
                  <a:cubicBezTo>
                    <a:pt x="1639" y="511"/>
                    <a:pt x="1657" y="523"/>
                    <a:pt x="1657" y="523"/>
                  </a:cubicBezTo>
                  <a:cubicBezTo>
                    <a:pt x="1657" y="523"/>
                    <a:pt x="1686" y="527"/>
                    <a:pt x="1699" y="536"/>
                  </a:cubicBezTo>
                  <a:cubicBezTo>
                    <a:pt x="1712" y="545"/>
                    <a:pt x="1715" y="556"/>
                    <a:pt x="1715" y="556"/>
                  </a:cubicBezTo>
                  <a:cubicBezTo>
                    <a:pt x="1715" y="556"/>
                    <a:pt x="1682" y="560"/>
                    <a:pt x="1695" y="568"/>
                  </a:cubicBezTo>
                  <a:cubicBezTo>
                    <a:pt x="1708" y="576"/>
                    <a:pt x="1722" y="583"/>
                    <a:pt x="1722" y="583"/>
                  </a:cubicBezTo>
                  <a:cubicBezTo>
                    <a:pt x="1750" y="582"/>
                    <a:pt x="1750" y="582"/>
                    <a:pt x="1750" y="582"/>
                  </a:cubicBezTo>
                  <a:cubicBezTo>
                    <a:pt x="1750" y="582"/>
                    <a:pt x="1734" y="590"/>
                    <a:pt x="1721" y="590"/>
                  </a:cubicBezTo>
                  <a:cubicBezTo>
                    <a:pt x="1708" y="590"/>
                    <a:pt x="1692" y="581"/>
                    <a:pt x="1692" y="581"/>
                  </a:cubicBezTo>
                  <a:cubicBezTo>
                    <a:pt x="1692" y="581"/>
                    <a:pt x="1693" y="558"/>
                    <a:pt x="1678" y="549"/>
                  </a:cubicBezTo>
                  <a:cubicBezTo>
                    <a:pt x="1663" y="540"/>
                    <a:pt x="1651" y="535"/>
                    <a:pt x="1651" y="535"/>
                  </a:cubicBezTo>
                  <a:cubicBezTo>
                    <a:pt x="1651" y="535"/>
                    <a:pt x="1647" y="520"/>
                    <a:pt x="1635" y="521"/>
                  </a:cubicBezTo>
                  <a:cubicBezTo>
                    <a:pt x="1623" y="522"/>
                    <a:pt x="1591" y="528"/>
                    <a:pt x="1591" y="528"/>
                  </a:cubicBezTo>
                  <a:cubicBezTo>
                    <a:pt x="1591" y="528"/>
                    <a:pt x="1573" y="530"/>
                    <a:pt x="1574" y="541"/>
                  </a:cubicBezTo>
                  <a:cubicBezTo>
                    <a:pt x="1575" y="552"/>
                    <a:pt x="1607" y="570"/>
                    <a:pt x="1607" y="574"/>
                  </a:cubicBezTo>
                  <a:cubicBezTo>
                    <a:pt x="1607" y="578"/>
                    <a:pt x="1588" y="590"/>
                    <a:pt x="1588" y="590"/>
                  </a:cubicBezTo>
                  <a:cubicBezTo>
                    <a:pt x="1586" y="619"/>
                    <a:pt x="1586" y="619"/>
                    <a:pt x="1586" y="619"/>
                  </a:cubicBezTo>
                  <a:cubicBezTo>
                    <a:pt x="1558" y="633"/>
                    <a:pt x="1558" y="633"/>
                    <a:pt x="1558" y="633"/>
                  </a:cubicBezTo>
                  <a:cubicBezTo>
                    <a:pt x="1558" y="633"/>
                    <a:pt x="1552" y="654"/>
                    <a:pt x="1539" y="648"/>
                  </a:cubicBezTo>
                  <a:cubicBezTo>
                    <a:pt x="1526" y="642"/>
                    <a:pt x="1500" y="644"/>
                    <a:pt x="1500" y="644"/>
                  </a:cubicBezTo>
                  <a:cubicBezTo>
                    <a:pt x="1462" y="640"/>
                    <a:pt x="1462" y="640"/>
                    <a:pt x="1462" y="640"/>
                  </a:cubicBezTo>
                  <a:cubicBezTo>
                    <a:pt x="1462" y="640"/>
                    <a:pt x="1419" y="625"/>
                    <a:pt x="1430" y="624"/>
                  </a:cubicBezTo>
                  <a:cubicBezTo>
                    <a:pt x="1441" y="623"/>
                    <a:pt x="1464" y="622"/>
                    <a:pt x="1464" y="622"/>
                  </a:cubicBezTo>
                  <a:cubicBezTo>
                    <a:pt x="1477" y="626"/>
                    <a:pt x="1477" y="626"/>
                    <a:pt x="1477" y="626"/>
                  </a:cubicBezTo>
                  <a:cubicBezTo>
                    <a:pt x="1492" y="615"/>
                    <a:pt x="1492" y="615"/>
                    <a:pt x="1492" y="615"/>
                  </a:cubicBezTo>
                  <a:cubicBezTo>
                    <a:pt x="1492" y="615"/>
                    <a:pt x="1530" y="624"/>
                    <a:pt x="1530" y="613"/>
                  </a:cubicBezTo>
                  <a:cubicBezTo>
                    <a:pt x="1530" y="602"/>
                    <a:pt x="1532" y="587"/>
                    <a:pt x="1532" y="587"/>
                  </a:cubicBezTo>
                  <a:cubicBezTo>
                    <a:pt x="1548" y="582"/>
                    <a:pt x="1548" y="582"/>
                    <a:pt x="1548" y="582"/>
                  </a:cubicBezTo>
                  <a:cubicBezTo>
                    <a:pt x="1550" y="568"/>
                    <a:pt x="1550" y="568"/>
                    <a:pt x="1550" y="568"/>
                  </a:cubicBezTo>
                  <a:cubicBezTo>
                    <a:pt x="1539" y="566"/>
                    <a:pt x="1539" y="566"/>
                    <a:pt x="1539" y="566"/>
                  </a:cubicBezTo>
                  <a:cubicBezTo>
                    <a:pt x="1539" y="566"/>
                    <a:pt x="1555" y="546"/>
                    <a:pt x="1545" y="542"/>
                  </a:cubicBezTo>
                  <a:cubicBezTo>
                    <a:pt x="1535" y="538"/>
                    <a:pt x="1492" y="540"/>
                    <a:pt x="1490" y="524"/>
                  </a:cubicBezTo>
                  <a:cubicBezTo>
                    <a:pt x="1488" y="508"/>
                    <a:pt x="1490" y="489"/>
                    <a:pt x="1481" y="484"/>
                  </a:cubicBezTo>
                  <a:cubicBezTo>
                    <a:pt x="1472" y="479"/>
                    <a:pt x="1459" y="463"/>
                    <a:pt x="1459" y="463"/>
                  </a:cubicBezTo>
                  <a:cubicBezTo>
                    <a:pt x="1455" y="439"/>
                    <a:pt x="1455" y="439"/>
                    <a:pt x="1455" y="439"/>
                  </a:cubicBezTo>
                  <a:cubicBezTo>
                    <a:pt x="1413" y="416"/>
                    <a:pt x="1413" y="416"/>
                    <a:pt x="1413" y="416"/>
                  </a:cubicBezTo>
                  <a:cubicBezTo>
                    <a:pt x="1413" y="416"/>
                    <a:pt x="1440" y="395"/>
                    <a:pt x="1426" y="375"/>
                  </a:cubicBezTo>
                  <a:cubicBezTo>
                    <a:pt x="1412" y="355"/>
                    <a:pt x="1380" y="355"/>
                    <a:pt x="1380" y="355"/>
                  </a:cubicBezTo>
                  <a:cubicBezTo>
                    <a:pt x="1291" y="347"/>
                    <a:pt x="1291" y="347"/>
                    <a:pt x="1291" y="347"/>
                  </a:cubicBezTo>
                  <a:cubicBezTo>
                    <a:pt x="1284" y="367"/>
                    <a:pt x="1284" y="367"/>
                    <a:pt x="1284" y="367"/>
                  </a:cubicBezTo>
                  <a:cubicBezTo>
                    <a:pt x="1295" y="378"/>
                    <a:pt x="1295" y="378"/>
                    <a:pt x="1295" y="378"/>
                  </a:cubicBezTo>
                  <a:cubicBezTo>
                    <a:pt x="1290" y="401"/>
                    <a:pt x="1290" y="401"/>
                    <a:pt x="1290" y="401"/>
                  </a:cubicBezTo>
                  <a:cubicBezTo>
                    <a:pt x="1252" y="417"/>
                    <a:pt x="1252" y="417"/>
                    <a:pt x="1252" y="417"/>
                  </a:cubicBezTo>
                  <a:cubicBezTo>
                    <a:pt x="1246" y="436"/>
                    <a:pt x="1246" y="436"/>
                    <a:pt x="1246" y="436"/>
                  </a:cubicBezTo>
                  <a:cubicBezTo>
                    <a:pt x="1267" y="438"/>
                    <a:pt x="1267" y="438"/>
                    <a:pt x="1267" y="438"/>
                  </a:cubicBezTo>
                  <a:cubicBezTo>
                    <a:pt x="1290" y="473"/>
                    <a:pt x="1290" y="473"/>
                    <a:pt x="1290" y="473"/>
                  </a:cubicBezTo>
                  <a:cubicBezTo>
                    <a:pt x="1281" y="485"/>
                    <a:pt x="1281" y="485"/>
                    <a:pt x="1281" y="485"/>
                  </a:cubicBezTo>
                  <a:cubicBezTo>
                    <a:pt x="1300" y="500"/>
                    <a:pt x="1300" y="500"/>
                    <a:pt x="1300" y="500"/>
                  </a:cubicBezTo>
                  <a:cubicBezTo>
                    <a:pt x="1323" y="494"/>
                    <a:pt x="1323" y="494"/>
                    <a:pt x="1323" y="494"/>
                  </a:cubicBezTo>
                  <a:cubicBezTo>
                    <a:pt x="1323" y="494"/>
                    <a:pt x="1341" y="515"/>
                    <a:pt x="1354" y="518"/>
                  </a:cubicBezTo>
                  <a:cubicBezTo>
                    <a:pt x="1367" y="521"/>
                    <a:pt x="1380" y="521"/>
                    <a:pt x="1380" y="521"/>
                  </a:cubicBezTo>
                  <a:cubicBezTo>
                    <a:pt x="1377" y="558"/>
                    <a:pt x="1377" y="558"/>
                    <a:pt x="1377" y="558"/>
                  </a:cubicBezTo>
                  <a:cubicBezTo>
                    <a:pt x="1364" y="544"/>
                    <a:pt x="1364" y="544"/>
                    <a:pt x="1364" y="544"/>
                  </a:cubicBezTo>
                  <a:cubicBezTo>
                    <a:pt x="1354" y="550"/>
                    <a:pt x="1354" y="550"/>
                    <a:pt x="1354" y="550"/>
                  </a:cubicBezTo>
                  <a:cubicBezTo>
                    <a:pt x="1354" y="550"/>
                    <a:pt x="1337" y="541"/>
                    <a:pt x="1319" y="533"/>
                  </a:cubicBezTo>
                  <a:cubicBezTo>
                    <a:pt x="1302" y="542"/>
                    <a:pt x="1279" y="553"/>
                    <a:pt x="1270" y="557"/>
                  </a:cubicBezTo>
                  <a:cubicBezTo>
                    <a:pt x="1253" y="563"/>
                    <a:pt x="1270" y="569"/>
                    <a:pt x="1256" y="593"/>
                  </a:cubicBezTo>
                  <a:cubicBezTo>
                    <a:pt x="1242" y="617"/>
                    <a:pt x="1220" y="629"/>
                    <a:pt x="1220" y="629"/>
                  </a:cubicBezTo>
                  <a:cubicBezTo>
                    <a:pt x="1220" y="629"/>
                    <a:pt x="1173" y="633"/>
                    <a:pt x="1156" y="645"/>
                  </a:cubicBezTo>
                  <a:cubicBezTo>
                    <a:pt x="1139" y="657"/>
                    <a:pt x="1125" y="665"/>
                    <a:pt x="1116" y="687"/>
                  </a:cubicBezTo>
                  <a:cubicBezTo>
                    <a:pt x="1107" y="709"/>
                    <a:pt x="1139" y="718"/>
                    <a:pt x="1100" y="722"/>
                  </a:cubicBezTo>
                  <a:cubicBezTo>
                    <a:pt x="1060" y="726"/>
                    <a:pt x="1045" y="711"/>
                    <a:pt x="1030" y="725"/>
                  </a:cubicBezTo>
                  <a:cubicBezTo>
                    <a:pt x="1014" y="738"/>
                    <a:pt x="971" y="743"/>
                    <a:pt x="960" y="757"/>
                  </a:cubicBezTo>
                  <a:cubicBezTo>
                    <a:pt x="949" y="770"/>
                    <a:pt x="924" y="808"/>
                    <a:pt x="924" y="808"/>
                  </a:cubicBezTo>
                  <a:cubicBezTo>
                    <a:pt x="920" y="853"/>
                    <a:pt x="920" y="853"/>
                    <a:pt x="920" y="853"/>
                  </a:cubicBezTo>
                  <a:cubicBezTo>
                    <a:pt x="920" y="853"/>
                    <a:pt x="950" y="893"/>
                    <a:pt x="950" y="909"/>
                  </a:cubicBezTo>
                  <a:cubicBezTo>
                    <a:pt x="950" y="925"/>
                    <a:pt x="976" y="970"/>
                    <a:pt x="988" y="982"/>
                  </a:cubicBezTo>
                  <a:cubicBezTo>
                    <a:pt x="999" y="993"/>
                    <a:pt x="1007" y="1011"/>
                    <a:pt x="1006" y="1027"/>
                  </a:cubicBezTo>
                  <a:cubicBezTo>
                    <a:pt x="1006" y="1042"/>
                    <a:pt x="1005" y="1061"/>
                    <a:pt x="1017" y="1065"/>
                  </a:cubicBezTo>
                  <a:cubicBezTo>
                    <a:pt x="1029" y="1069"/>
                    <a:pt x="1048" y="1063"/>
                    <a:pt x="1061" y="1086"/>
                  </a:cubicBezTo>
                  <a:cubicBezTo>
                    <a:pt x="1075" y="1110"/>
                    <a:pt x="1065" y="1105"/>
                    <a:pt x="1052" y="1113"/>
                  </a:cubicBezTo>
                  <a:cubicBezTo>
                    <a:pt x="1039" y="1121"/>
                    <a:pt x="1025" y="1135"/>
                    <a:pt x="1030" y="1146"/>
                  </a:cubicBezTo>
                  <a:cubicBezTo>
                    <a:pt x="1036" y="1157"/>
                    <a:pt x="1016" y="1171"/>
                    <a:pt x="1016" y="1171"/>
                  </a:cubicBezTo>
                  <a:cubicBezTo>
                    <a:pt x="967" y="1163"/>
                    <a:pt x="967" y="1163"/>
                    <a:pt x="967" y="1163"/>
                  </a:cubicBezTo>
                  <a:cubicBezTo>
                    <a:pt x="972" y="1189"/>
                    <a:pt x="972" y="1189"/>
                    <a:pt x="972" y="1189"/>
                  </a:cubicBezTo>
                  <a:cubicBezTo>
                    <a:pt x="990" y="1243"/>
                    <a:pt x="990" y="1243"/>
                    <a:pt x="990" y="1243"/>
                  </a:cubicBezTo>
                  <a:cubicBezTo>
                    <a:pt x="990" y="1243"/>
                    <a:pt x="1021" y="1254"/>
                    <a:pt x="1032" y="1256"/>
                  </a:cubicBezTo>
                  <a:cubicBezTo>
                    <a:pt x="1042" y="1257"/>
                    <a:pt x="1053" y="1251"/>
                    <a:pt x="1076" y="1260"/>
                  </a:cubicBezTo>
                  <a:cubicBezTo>
                    <a:pt x="1099" y="1270"/>
                    <a:pt x="1086" y="1266"/>
                    <a:pt x="1104" y="1263"/>
                  </a:cubicBezTo>
                  <a:cubicBezTo>
                    <a:pt x="1121" y="1259"/>
                    <a:pt x="1119" y="1247"/>
                    <a:pt x="1119" y="1247"/>
                  </a:cubicBezTo>
                  <a:cubicBezTo>
                    <a:pt x="1129" y="1262"/>
                    <a:pt x="1129" y="1262"/>
                    <a:pt x="1129" y="1262"/>
                  </a:cubicBezTo>
                  <a:cubicBezTo>
                    <a:pt x="1125" y="1292"/>
                    <a:pt x="1125" y="1292"/>
                    <a:pt x="1125" y="1292"/>
                  </a:cubicBezTo>
                  <a:cubicBezTo>
                    <a:pt x="1135" y="1324"/>
                    <a:pt x="1135" y="1324"/>
                    <a:pt x="1135" y="1324"/>
                  </a:cubicBezTo>
                  <a:cubicBezTo>
                    <a:pt x="1137" y="1362"/>
                    <a:pt x="1137" y="1362"/>
                    <a:pt x="1137" y="1362"/>
                  </a:cubicBezTo>
                  <a:cubicBezTo>
                    <a:pt x="1137" y="1362"/>
                    <a:pt x="1139" y="1382"/>
                    <a:pt x="1133" y="1389"/>
                  </a:cubicBezTo>
                  <a:cubicBezTo>
                    <a:pt x="1131" y="1391"/>
                    <a:pt x="1127" y="1390"/>
                    <a:pt x="1122" y="1387"/>
                  </a:cubicBezTo>
                  <a:cubicBezTo>
                    <a:pt x="1122" y="1387"/>
                    <a:pt x="1122" y="1387"/>
                    <a:pt x="1122" y="1387"/>
                  </a:cubicBezTo>
                  <a:cubicBezTo>
                    <a:pt x="1121" y="1385"/>
                    <a:pt x="1119" y="1382"/>
                    <a:pt x="1118" y="1381"/>
                  </a:cubicBezTo>
                  <a:cubicBezTo>
                    <a:pt x="1117" y="1379"/>
                    <a:pt x="1114" y="1379"/>
                    <a:pt x="1111" y="1379"/>
                  </a:cubicBezTo>
                  <a:cubicBezTo>
                    <a:pt x="1110" y="1379"/>
                    <a:pt x="1109" y="1379"/>
                    <a:pt x="1108" y="1379"/>
                  </a:cubicBezTo>
                  <a:cubicBezTo>
                    <a:pt x="1108" y="1379"/>
                    <a:pt x="1108" y="1379"/>
                    <a:pt x="1108" y="1379"/>
                  </a:cubicBezTo>
                  <a:cubicBezTo>
                    <a:pt x="1107" y="1379"/>
                    <a:pt x="1106" y="1379"/>
                    <a:pt x="1105" y="1379"/>
                  </a:cubicBezTo>
                  <a:cubicBezTo>
                    <a:pt x="1097" y="1375"/>
                    <a:pt x="1090" y="1372"/>
                    <a:pt x="1089" y="1375"/>
                  </a:cubicBezTo>
                  <a:cubicBezTo>
                    <a:pt x="1088" y="1383"/>
                    <a:pt x="1070" y="1358"/>
                    <a:pt x="1070" y="1358"/>
                  </a:cubicBezTo>
                  <a:cubicBezTo>
                    <a:pt x="1070" y="1358"/>
                    <a:pt x="1069" y="1359"/>
                    <a:pt x="1051" y="1367"/>
                  </a:cubicBezTo>
                  <a:cubicBezTo>
                    <a:pt x="1033" y="1375"/>
                    <a:pt x="1033" y="1365"/>
                    <a:pt x="1018" y="1364"/>
                  </a:cubicBezTo>
                  <a:cubicBezTo>
                    <a:pt x="1012" y="1364"/>
                    <a:pt x="1007" y="1366"/>
                    <a:pt x="1003" y="1367"/>
                  </a:cubicBezTo>
                  <a:cubicBezTo>
                    <a:pt x="1001" y="1367"/>
                    <a:pt x="999" y="1367"/>
                    <a:pt x="996" y="1367"/>
                  </a:cubicBezTo>
                  <a:cubicBezTo>
                    <a:pt x="976" y="1368"/>
                    <a:pt x="991" y="1375"/>
                    <a:pt x="990" y="1383"/>
                  </a:cubicBezTo>
                  <a:cubicBezTo>
                    <a:pt x="988" y="1385"/>
                    <a:pt x="986" y="1387"/>
                    <a:pt x="983" y="1388"/>
                  </a:cubicBezTo>
                  <a:cubicBezTo>
                    <a:pt x="980" y="1390"/>
                    <a:pt x="972" y="1395"/>
                    <a:pt x="964" y="1400"/>
                  </a:cubicBezTo>
                  <a:cubicBezTo>
                    <a:pt x="958" y="1402"/>
                    <a:pt x="952" y="1403"/>
                    <a:pt x="952" y="1403"/>
                  </a:cubicBezTo>
                  <a:cubicBezTo>
                    <a:pt x="952" y="1409"/>
                    <a:pt x="952" y="1409"/>
                    <a:pt x="952" y="1409"/>
                  </a:cubicBezTo>
                  <a:cubicBezTo>
                    <a:pt x="943" y="1416"/>
                    <a:pt x="938" y="1422"/>
                    <a:pt x="946" y="1421"/>
                  </a:cubicBezTo>
                  <a:cubicBezTo>
                    <a:pt x="947" y="1421"/>
                    <a:pt x="947" y="1421"/>
                    <a:pt x="947" y="1421"/>
                  </a:cubicBezTo>
                  <a:cubicBezTo>
                    <a:pt x="934" y="1427"/>
                    <a:pt x="934" y="1427"/>
                    <a:pt x="934" y="1427"/>
                  </a:cubicBezTo>
                  <a:cubicBezTo>
                    <a:pt x="934" y="1427"/>
                    <a:pt x="934" y="1428"/>
                    <a:pt x="935" y="1428"/>
                  </a:cubicBezTo>
                  <a:cubicBezTo>
                    <a:pt x="935" y="1428"/>
                    <a:pt x="935" y="1429"/>
                    <a:pt x="935" y="1429"/>
                  </a:cubicBezTo>
                  <a:cubicBezTo>
                    <a:pt x="935" y="1429"/>
                    <a:pt x="936" y="1429"/>
                    <a:pt x="936" y="1430"/>
                  </a:cubicBezTo>
                  <a:cubicBezTo>
                    <a:pt x="936" y="1429"/>
                    <a:pt x="936" y="1429"/>
                    <a:pt x="935" y="1429"/>
                  </a:cubicBezTo>
                  <a:cubicBezTo>
                    <a:pt x="936" y="1429"/>
                    <a:pt x="936" y="1429"/>
                    <a:pt x="936" y="1430"/>
                  </a:cubicBezTo>
                  <a:cubicBezTo>
                    <a:pt x="936" y="1430"/>
                    <a:pt x="936" y="1430"/>
                    <a:pt x="936" y="1430"/>
                  </a:cubicBezTo>
                  <a:cubicBezTo>
                    <a:pt x="937" y="1430"/>
                    <a:pt x="937" y="1431"/>
                    <a:pt x="938" y="1431"/>
                  </a:cubicBezTo>
                  <a:cubicBezTo>
                    <a:pt x="938" y="1431"/>
                    <a:pt x="938" y="1431"/>
                    <a:pt x="938" y="1432"/>
                  </a:cubicBezTo>
                  <a:cubicBezTo>
                    <a:pt x="938" y="1432"/>
                    <a:pt x="939" y="1433"/>
                    <a:pt x="939" y="1433"/>
                  </a:cubicBezTo>
                  <a:cubicBezTo>
                    <a:pt x="939" y="1433"/>
                    <a:pt x="939" y="1433"/>
                    <a:pt x="939" y="1434"/>
                  </a:cubicBezTo>
                  <a:cubicBezTo>
                    <a:pt x="940" y="1434"/>
                    <a:pt x="940" y="1435"/>
                    <a:pt x="941" y="1436"/>
                  </a:cubicBezTo>
                  <a:cubicBezTo>
                    <a:pt x="942" y="1438"/>
                    <a:pt x="943" y="1440"/>
                    <a:pt x="943" y="1443"/>
                  </a:cubicBezTo>
                  <a:cubicBezTo>
                    <a:pt x="920" y="1444"/>
                    <a:pt x="920" y="1444"/>
                    <a:pt x="920" y="1444"/>
                  </a:cubicBezTo>
                  <a:cubicBezTo>
                    <a:pt x="920" y="1444"/>
                    <a:pt x="901" y="1413"/>
                    <a:pt x="892" y="1434"/>
                  </a:cubicBezTo>
                  <a:cubicBezTo>
                    <a:pt x="892" y="1434"/>
                    <a:pt x="892" y="1434"/>
                    <a:pt x="892" y="1434"/>
                  </a:cubicBezTo>
                  <a:cubicBezTo>
                    <a:pt x="889" y="1431"/>
                    <a:pt x="885" y="1430"/>
                    <a:pt x="883" y="1430"/>
                  </a:cubicBezTo>
                  <a:cubicBezTo>
                    <a:pt x="871" y="1431"/>
                    <a:pt x="879" y="1450"/>
                    <a:pt x="879" y="1458"/>
                  </a:cubicBezTo>
                  <a:cubicBezTo>
                    <a:pt x="879" y="1466"/>
                    <a:pt x="866" y="1463"/>
                    <a:pt x="866" y="1463"/>
                  </a:cubicBezTo>
                  <a:cubicBezTo>
                    <a:pt x="868" y="1487"/>
                    <a:pt x="868" y="1487"/>
                    <a:pt x="868" y="1487"/>
                  </a:cubicBezTo>
                  <a:cubicBezTo>
                    <a:pt x="868" y="1487"/>
                    <a:pt x="874" y="1493"/>
                    <a:pt x="874" y="1501"/>
                  </a:cubicBezTo>
                  <a:cubicBezTo>
                    <a:pt x="874" y="1509"/>
                    <a:pt x="866" y="1521"/>
                    <a:pt x="866" y="1537"/>
                  </a:cubicBezTo>
                  <a:cubicBezTo>
                    <a:pt x="866" y="1553"/>
                    <a:pt x="876" y="1543"/>
                    <a:pt x="888" y="1549"/>
                  </a:cubicBezTo>
                  <a:cubicBezTo>
                    <a:pt x="889" y="1549"/>
                    <a:pt x="889" y="1549"/>
                    <a:pt x="890" y="1549"/>
                  </a:cubicBezTo>
                  <a:cubicBezTo>
                    <a:pt x="890" y="1550"/>
                    <a:pt x="891" y="1550"/>
                    <a:pt x="891" y="1550"/>
                  </a:cubicBezTo>
                  <a:cubicBezTo>
                    <a:pt x="898" y="1556"/>
                    <a:pt x="887" y="1569"/>
                    <a:pt x="898" y="1574"/>
                  </a:cubicBezTo>
                  <a:cubicBezTo>
                    <a:pt x="910" y="1579"/>
                    <a:pt x="934" y="1570"/>
                    <a:pt x="939" y="1573"/>
                  </a:cubicBezTo>
                  <a:cubicBezTo>
                    <a:pt x="942" y="1574"/>
                    <a:pt x="955" y="1587"/>
                    <a:pt x="966" y="1600"/>
                  </a:cubicBezTo>
                  <a:cubicBezTo>
                    <a:pt x="967" y="1600"/>
                    <a:pt x="967" y="1600"/>
                    <a:pt x="967" y="1600"/>
                  </a:cubicBezTo>
                  <a:cubicBezTo>
                    <a:pt x="966" y="1623"/>
                    <a:pt x="966" y="1623"/>
                    <a:pt x="966" y="1623"/>
                  </a:cubicBezTo>
                  <a:cubicBezTo>
                    <a:pt x="968" y="1624"/>
                    <a:pt x="970" y="1625"/>
                    <a:pt x="973" y="1627"/>
                  </a:cubicBezTo>
                  <a:cubicBezTo>
                    <a:pt x="972" y="1627"/>
                    <a:pt x="972" y="1627"/>
                    <a:pt x="972" y="1627"/>
                  </a:cubicBezTo>
                  <a:cubicBezTo>
                    <a:pt x="966" y="1626"/>
                    <a:pt x="960" y="1626"/>
                    <a:pt x="960" y="1630"/>
                  </a:cubicBezTo>
                  <a:cubicBezTo>
                    <a:pt x="960" y="1638"/>
                    <a:pt x="995" y="1649"/>
                    <a:pt x="995" y="1649"/>
                  </a:cubicBezTo>
                  <a:cubicBezTo>
                    <a:pt x="1002" y="1639"/>
                    <a:pt x="1002" y="1639"/>
                    <a:pt x="1002" y="1639"/>
                  </a:cubicBezTo>
                  <a:cubicBezTo>
                    <a:pt x="1002" y="1639"/>
                    <a:pt x="1011" y="1641"/>
                    <a:pt x="1018" y="1634"/>
                  </a:cubicBezTo>
                  <a:cubicBezTo>
                    <a:pt x="1024" y="1627"/>
                    <a:pt x="1074" y="1606"/>
                    <a:pt x="1080" y="1609"/>
                  </a:cubicBezTo>
                  <a:cubicBezTo>
                    <a:pt x="1087" y="1611"/>
                    <a:pt x="1108" y="1627"/>
                    <a:pt x="1118" y="1627"/>
                  </a:cubicBezTo>
                  <a:cubicBezTo>
                    <a:pt x="1127" y="1627"/>
                    <a:pt x="1135" y="1609"/>
                    <a:pt x="1155" y="1634"/>
                  </a:cubicBezTo>
                  <a:cubicBezTo>
                    <a:pt x="1175" y="1659"/>
                    <a:pt x="1159" y="1667"/>
                    <a:pt x="1156" y="1675"/>
                  </a:cubicBezTo>
                  <a:cubicBezTo>
                    <a:pt x="1154" y="1683"/>
                    <a:pt x="1175" y="1699"/>
                    <a:pt x="1182" y="1702"/>
                  </a:cubicBezTo>
                  <a:cubicBezTo>
                    <a:pt x="1188" y="1705"/>
                    <a:pt x="1199" y="1690"/>
                    <a:pt x="1207" y="1686"/>
                  </a:cubicBezTo>
                  <a:cubicBezTo>
                    <a:pt x="1215" y="1682"/>
                    <a:pt x="1218" y="1695"/>
                    <a:pt x="1218" y="1703"/>
                  </a:cubicBezTo>
                  <a:cubicBezTo>
                    <a:pt x="1218" y="1711"/>
                    <a:pt x="1230" y="1721"/>
                    <a:pt x="1230" y="1721"/>
                  </a:cubicBezTo>
                  <a:cubicBezTo>
                    <a:pt x="1203" y="1722"/>
                    <a:pt x="1203" y="1722"/>
                    <a:pt x="1203" y="1722"/>
                  </a:cubicBezTo>
                  <a:cubicBezTo>
                    <a:pt x="1203" y="1722"/>
                    <a:pt x="1204" y="1742"/>
                    <a:pt x="1191" y="1733"/>
                  </a:cubicBezTo>
                  <a:cubicBezTo>
                    <a:pt x="1178" y="1723"/>
                    <a:pt x="1204" y="1710"/>
                    <a:pt x="1204" y="1710"/>
                  </a:cubicBezTo>
                  <a:cubicBezTo>
                    <a:pt x="1204" y="1710"/>
                    <a:pt x="1156" y="1707"/>
                    <a:pt x="1148" y="1705"/>
                  </a:cubicBezTo>
                  <a:cubicBezTo>
                    <a:pt x="1140" y="1702"/>
                    <a:pt x="1098" y="1694"/>
                    <a:pt x="1098" y="1694"/>
                  </a:cubicBezTo>
                  <a:cubicBezTo>
                    <a:pt x="1106" y="1717"/>
                    <a:pt x="1106" y="1717"/>
                    <a:pt x="1106" y="1717"/>
                  </a:cubicBezTo>
                  <a:cubicBezTo>
                    <a:pt x="1106" y="1717"/>
                    <a:pt x="1090" y="1710"/>
                    <a:pt x="1084" y="1723"/>
                  </a:cubicBezTo>
                  <a:cubicBezTo>
                    <a:pt x="1079" y="1737"/>
                    <a:pt x="1115" y="1738"/>
                    <a:pt x="1114" y="1746"/>
                  </a:cubicBezTo>
                  <a:cubicBezTo>
                    <a:pt x="1112" y="1754"/>
                    <a:pt x="1064" y="1729"/>
                    <a:pt x="1059" y="1741"/>
                  </a:cubicBezTo>
                  <a:cubicBezTo>
                    <a:pt x="1054" y="1753"/>
                    <a:pt x="1087" y="1761"/>
                    <a:pt x="1087" y="1761"/>
                  </a:cubicBezTo>
                  <a:cubicBezTo>
                    <a:pt x="1087" y="1761"/>
                    <a:pt x="1087" y="1769"/>
                    <a:pt x="1094" y="1777"/>
                  </a:cubicBezTo>
                  <a:cubicBezTo>
                    <a:pt x="1100" y="1785"/>
                    <a:pt x="1114" y="1801"/>
                    <a:pt x="1114" y="1801"/>
                  </a:cubicBezTo>
                  <a:cubicBezTo>
                    <a:pt x="1112" y="1815"/>
                    <a:pt x="1112" y="1815"/>
                    <a:pt x="1112" y="1815"/>
                  </a:cubicBezTo>
                  <a:cubicBezTo>
                    <a:pt x="1135" y="1818"/>
                    <a:pt x="1135" y="1818"/>
                    <a:pt x="1135" y="1818"/>
                  </a:cubicBezTo>
                  <a:cubicBezTo>
                    <a:pt x="1140" y="1833"/>
                    <a:pt x="1140" y="1833"/>
                    <a:pt x="1140" y="1833"/>
                  </a:cubicBezTo>
                  <a:cubicBezTo>
                    <a:pt x="1140" y="1833"/>
                    <a:pt x="1175" y="1833"/>
                    <a:pt x="1186" y="1843"/>
                  </a:cubicBezTo>
                  <a:cubicBezTo>
                    <a:pt x="1196" y="1854"/>
                    <a:pt x="1174" y="1865"/>
                    <a:pt x="1172" y="1875"/>
                  </a:cubicBezTo>
                  <a:cubicBezTo>
                    <a:pt x="1171" y="1886"/>
                    <a:pt x="1182" y="1887"/>
                    <a:pt x="1182" y="1887"/>
                  </a:cubicBezTo>
                  <a:cubicBezTo>
                    <a:pt x="1180" y="1893"/>
                    <a:pt x="1194" y="1907"/>
                    <a:pt x="1194" y="1907"/>
                  </a:cubicBezTo>
                  <a:cubicBezTo>
                    <a:pt x="1194" y="1907"/>
                    <a:pt x="1214" y="1931"/>
                    <a:pt x="1214" y="1935"/>
                  </a:cubicBezTo>
                  <a:cubicBezTo>
                    <a:pt x="1214" y="1939"/>
                    <a:pt x="1204" y="1950"/>
                    <a:pt x="1204" y="1955"/>
                  </a:cubicBezTo>
                  <a:cubicBezTo>
                    <a:pt x="1204" y="1961"/>
                    <a:pt x="1220" y="1986"/>
                    <a:pt x="1220" y="1986"/>
                  </a:cubicBezTo>
                  <a:cubicBezTo>
                    <a:pt x="1240" y="1983"/>
                    <a:pt x="1240" y="1983"/>
                    <a:pt x="1240" y="1983"/>
                  </a:cubicBezTo>
                  <a:cubicBezTo>
                    <a:pt x="1242" y="2001"/>
                    <a:pt x="1242" y="2001"/>
                    <a:pt x="1242" y="2001"/>
                  </a:cubicBezTo>
                  <a:cubicBezTo>
                    <a:pt x="1255" y="2007"/>
                    <a:pt x="1255" y="2007"/>
                    <a:pt x="1255" y="2007"/>
                  </a:cubicBezTo>
                  <a:cubicBezTo>
                    <a:pt x="1255" y="2007"/>
                    <a:pt x="1226" y="2006"/>
                    <a:pt x="1230" y="2015"/>
                  </a:cubicBezTo>
                  <a:cubicBezTo>
                    <a:pt x="1234" y="2025"/>
                    <a:pt x="1244" y="2019"/>
                    <a:pt x="1251" y="2022"/>
                  </a:cubicBezTo>
                  <a:cubicBezTo>
                    <a:pt x="1258" y="2025"/>
                    <a:pt x="1270" y="2038"/>
                    <a:pt x="1270" y="2038"/>
                  </a:cubicBezTo>
                  <a:cubicBezTo>
                    <a:pt x="1274" y="2073"/>
                    <a:pt x="1274" y="2073"/>
                    <a:pt x="1274" y="2073"/>
                  </a:cubicBezTo>
                  <a:cubicBezTo>
                    <a:pt x="1279" y="2075"/>
                    <a:pt x="1279" y="2075"/>
                    <a:pt x="1279" y="2075"/>
                  </a:cubicBezTo>
                  <a:cubicBezTo>
                    <a:pt x="1279" y="2075"/>
                    <a:pt x="1276" y="2089"/>
                    <a:pt x="1276" y="2097"/>
                  </a:cubicBezTo>
                  <a:cubicBezTo>
                    <a:pt x="1276" y="2105"/>
                    <a:pt x="1286" y="2126"/>
                    <a:pt x="1286" y="2126"/>
                  </a:cubicBezTo>
                  <a:cubicBezTo>
                    <a:pt x="1286" y="2126"/>
                    <a:pt x="1306" y="2152"/>
                    <a:pt x="1294" y="2154"/>
                  </a:cubicBezTo>
                  <a:cubicBezTo>
                    <a:pt x="1282" y="2156"/>
                    <a:pt x="1271" y="2149"/>
                    <a:pt x="1271" y="2149"/>
                  </a:cubicBezTo>
                  <a:cubicBezTo>
                    <a:pt x="1271" y="2149"/>
                    <a:pt x="1246" y="2154"/>
                    <a:pt x="1233" y="2157"/>
                  </a:cubicBezTo>
                  <a:cubicBezTo>
                    <a:pt x="1220" y="2160"/>
                    <a:pt x="1213" y="2169"/>
                    <a:pt x="1205" y="2168"/>
                  </a:cubicBezTo>
                  <a:cubicBezTo>
                    <a:pt x="1197" y="2167"/>
                    <a:pt x="1189" y="2158"/>
                    <a:pt x="1179" y="2158"/>
                  </a:cubicBezTo>
                  <a:cubicBezTo>
                    <a:pt x="1169" y="2158"/>
                    <a:pt x="1157" y="2158"/>
                    <a:pt x="1143" y="2148"/>
                  </a:cubicBezTo>
                  <a:cubicBezTo>
                    <a:pt x="1129" y="2138"/>
                    <a:pt x="1121" y="2121"/>
                    <a:pt x="1121" y="2121"/>
                  </a:cubicBezTo>
                  <a:cubicBezTo>
                    <a:pt x="1121" y="2121"/>
                    <a:pt x="1092" y="2118"/>
                    <a:pt x="1089" y="2118"/>
                  </a:cubicBezTo>
                  <a:cubicBezTo>
                    <a:pt x="1086" y="2118"/>
                    <a:pt x="1074" y="2111"/>
                    <a:pt x="1067" y="2103"/>
                  </a:cubicBezTo>
                  <a:cubicBezTo>
                    <a:pt x="1062" y="2097"/>
                    <a:pt x="1056" y="2083"/>
                    <a:pt x="1053" y="2076"/>
                  </a:cubicBezTo>
                  <a:cubicBezTo>
                    <a:pt x="1055" y="2069"/>
                    <a:pt x="1057" y="2060"/>
                    <a:pt x="1056" y="2056"/>
                  </a:cubicBezTo>
                  <a:cubicBezTo>
                    <a:pt x="1054" y="2050"/>
                    <a:pt x="1044" y="2047"/>
                    <a:pt x="1044" y="2047"/>
                  </a:cubicBezTo>
                  <a:cubicBezTo>
                    <a:pt x="1055" y="2043"/>
                    <a:pt x="1055" y="2043"/>
                    <a:pt x="1055" y="2043"/>
                  </a:cubicBezTo>
                  <a:cubicBezTo>
                    <a:pt x="1055" y="2024"/>
                    <a:pt x="1055" y="2024"/>
                    <a:pt x="1055" y="2024"/>
                  </a:cubicBezTo>
                  <a:cubicBezTo>
                    <a:pt x="1055" y="2024"/>
                    <a:pt x="1067" y="2037"/>
                    <a:pt x="1073" y="2029"/>
                  </a:cubicBezTo>
                  <a:cubicBezTo>
                    <a:pt x="1079" y="2021"/>
                    <a:pt x="1063" y="2011"/>
                    <a:pt x="1063" y="2011"/>
                  </a:cubicBezTo>
                  <a:cubicBezTo>
                    <a:pt x="1066" y="1998"/>
                    <a:pt x="1066" y="1998"/>
                    <a:pt x="1066" y="1998"/>
                  </a:cubicBezTo>
                  <a:cubicBezTo>
                    <a:pt x="1065" y="1975"/>
                    <a:pt x="1065" y="1975"/>
                    <a:pt x="1065" y="1975"/>
                  </a:cubicBezTo>
                  <a:cubicBezTo>
                    <a:pt x="1075" y="1977"/>
                    <a:pt x="1075" y="1977"/>
                    <a:pt x="1075" y="1977"/>
                  </a:cubicBezTo>
                  <a:cubicBezTo>
                    <a:pt x="1083" y="1968"/>
                    <a:pt x="1083" y="1968"/>
                    <a:pt x="1083" y="1968"/>
                  </a:cubicBezTo>
                  <a:cubicBezTo>
                    <a:pt x="1105" y="1970"/>
                    <a:pt x="1105" y="1970"/>
                    <a:pt x="1105" y="1970"/>
                  </a:cubicBezTo>
                  <a:cubicBezTo>
                    <a:pt x="1105" y="1970"/>
                    <a:pt x="1104" y="1965"/>
                    <a:pt x="1100" y="1957"/>
                  </a:cubicBezTo>
                  <a:cubicBezTo>
                    <a:pt x="1096" y="1949"/>
                    <a:pt x="1080" y="1956"/>
                    <a:pt x="1070" y="1956"/>
                  </a:cubicBezTo>
                  <a:cubicBezTo>
                    <a:pt x="1060" y="1956"/>
                    <a:pt x="1058" y="1938"/>
                    <a:pt x="1058" y="1938"/>
                  </a:cubicBezTo>
                  <a:cubicBezTo>
                    <a:pt x="1041" y="1920"/>
                    <a:pt x="1041" y="1920"/>
                    <a:pt x="1041" y="1920"/>
                  </a:cubicBezTo>
                  <a:cubicBezTo>
                    <a:pt x="1042" y="1911"/>
                    <a:pt x="1042" y="1911"/>
                    <a:pt x="1042" y="1911"/>
                  </a:cubicBezTo>
                  <a:cubicBezTo>
                    <a:pt x="1010" y="1884"/>
                    <a:pt x="1010" y="1884"/>
                    <a:pt x="1010" y="1884"/>
                  </a:cubicBezTo>
                  <a:cubicBezTo>
                    <a:pt x="1010" y="1884"/>
                    <a:pt x="1009" y="1895"/>
                    <a:pt x="1008" y="1902"/>
                  </a:cubicBezTo>
                  <a:cubicBezTo>
                    <a:pt x="1007" y="1909"/>
                    <a:pt x="991" y="1906"/>
                    <a:pt x="991" y="1906"/>
                  </a:cubicBezTo>
                  <a:cubicBezTo>
                    <a:pt x="991" y="1906"/>
                    <a:pt x="997" y="1918"/>
                    <a:pt x="981" y="1920"/>
                  </a:cubicBezTo>
                  <a:cubicBezTo>
                    <a:pt x="965" y="1922"/>
                    <a:pt x="956" y="1900"/>
                    <a:pt x="943" y="1891"/>
                  </a:cubicBezTo>
                  <a:cubicBezTo>
                    <a:pt x="934" y="1885"/>
                    <a:pt x="923" y="1884"/>
                    <a:pt x="916" y="1885"/>
                  </a:cubicBezTo>
                  <a:cubicBezTo>
                    <a:pt x="916" y="1885"/>
                    <a:pt x="916" y="1885"/>
                    <a:pt x="916" y="1885"/>
                  </a:cubicBezTo>
                  <a:cubicBezTo>
                    <a:pt x="909" y="1878"/>
                    <a:pt x="898" y="1868"/>
                    <a:pt x="881" y="1867"/>
                  </a:cubicBezTo>
                  <a:cubicBezTo>
                    <a:pt x="881" y="1868"/>
                    <a:pt x="886" y="1850"/>
                    <a:pt x="886" y="1850"/>
                  </a:cubicBezTo>
                  <a:cubicBezTo>
                    <a:pt x="866" y="1847"/>
                    <a:pt x="866" y="1847"/>
                    <a:pt x="866" y="1847"/>
                  </a:cubicBezTo>
                  <a:cubicBezTo>
                    <a:pt x="866" y="1847"/>
                    <a:pt x="856" y="1832"/>
                    <a:pt x="838" y="1834"/>
                  </a:cubicBezTo>
                  <a:cubicBezTo>
                    <a:pt x="820" y="1836"/>
                    <a:pt x="828" y="1845"/>
                    <a:pt x="809" y="1845"/>
                  </a:cubicBezTo>
                  <a:cubicBezTo>
                    <a:pt x="790" y="1845"/>
                    <a:pt x="790" y="1834"/>
                    <a:pt x="790" y="1834"/>
                  </a:cubicBezTo>
                  <a:cubicBezTo>
                    <a:pt x="758" y="1814"/>
                    <a:pt x="758" y="1814"/>
                    <a:pt x="758" y="1814"/>
                  </a:cubicBezTo>
                  <a:cubicBezTo>
                    <a:pt x="758" y="1814"/>
                    <a:pt x="738" y="1809"/>
                    <a:pt x="725" y="1810"/>
                  </a:cubicBezTo>
                  <a:cubicBezTo>
                    <a:pt x="712" y="1811"/>
                    <a:pt x="700" y="1809"/>
                    <a:pt x="684" y="1802"/>
                  </a:cubicBezTo>
                  <a:cubicBezTo>
                    <a:pt x="668" y="1795"/>
                    <a:pt x="643" y="1792"/>
                    <a:pt x="643" y="1792"/>
                  </a:cubicBezTo>
                  <a:cubicBezTo>
                    <a:pt x="630" y="1803"/>
                    <a:pt x="630" y="1803"/>
                    <a:pt x="630" y="1803"/>
                  </a:cubicBezTo>
                  <a:cubicBezTo>
                    <a:pt x="633" y="1804"/>
                    <a:pt x="634" y="1804"/>
                    <a:pt x="634" y="1804"/>
                  </a:cubicBezTo>
                  <a:cubicBezTo>
                    <a:pt x="634" y="1804"/>
                    <a:pt x="631" y="1803"/>
                    <a:pt x="626" y="1801"/>
                  </a:cubicBezTo>
                  <a:cubicBezTo>
                    <a:pt x="625" y="1801"/>
                    <a:pt x="624" y="1802"/>
                    <a:pt x="624" y="1803"/>
                  </a:cubicBezTo>
                  <a:cubicBezTo>
                    <a:pt x="625" y="1804"/>
                    <a:pt x="626" y="1805"/>
                    <a:pt x="626" y="1805"/>
                  </a:cubicBezTo>
                  <a:cubicBezTo>
                    <a:pt x="626" y="1805"/>
                    <a:pt x="666" y="1828"/>
                    <a:pt x="675" y="1831"/>
                  </a:cubicBezTo>
                  <a:cubicBezTo>
                    <a:pt x="683" y="1834"/>
                    <a:pt x="698" y="1847"/>
                    <a:pt x="698" y="1847"/>
                  </a:cubicBezTo>
                  <a:cubicBezTo>
                    <a:pt x="698" y="1847"/>
                    <a:pt x="702" y="1875"/>
                    <a:pt x="702" y="1878"/>
                  </a:cubicBezTo>
                  <a:cubicBezTo>
                    <a:pt x="702" y="1882"/>
                    <a:pt x="714" y="1897"/>
                    <a:pt x="714" y="1897"/>
                  </a:cubicBezTo>
                  <a:cubicBezTo>
                    <a:pt x="714" y="1897"/>
                    <a:pt x="712" y="1899"/>
                    <a:pt x="707" y="1904"/>
                  </a:cubicBezTo>
                  <a:cubicBezTo>
                    <a:pt x="699" y="1913"/>
                    <a:pt x="681" y="1928"/>
                    <a:pt x="671" y="1932"/>
                  </a:cubicBezTo>
                  <a:cubicBezTo>
                    <a:pt x="657" y="1937"/>
                    <a:pt x="613" y="1931"/>
                    <a:pt x="613" y="1931"/>
                  </a:cubicBezTo>
                  <a:cubicBezTo>
                    <a:pt x="577" y="1942"/>
                    <a:pt x="577" y="1942"/>
                    <a:pt x="577" y="1942"/>
                  </a:cubicBezTo>
                  <a:cubicBezTo>
                    <a:pt x="534" y="1926"/>
                    <a:pt x="534" y="1926"/>
                    <a:pt x="534" y="1926"/>
                  </a:cubicBezTo>
                  <a:cubicBezTo>
                    <a:pt x="516" y="1932"/>
                    <a:pt x="516" y="1932"/>
                    <a:pt x="516" y="1932"/>
                  </a:cubicBezTo>
                  <a:cubicBezTo>
                    <a:pt x="516" y="1932"/>
                    <a:pt x="507" y="1910"/>
                    <a:pt x="499" y="1912"/>
                  </a:cubicBezTo>
                  <a:cubicBezTo>
                    <a:pt x="491" y="1913"/>
                    <a:pt x="482" y="1920"/>
                    <a:pt x="482" y="1920"/>
                  </a:cubicBezTo>
                  <a:cubicBezTo>
                    <a:pt x="466" y="1910"/>
                    <a:pt x="466" y="1910"/>
                    <a:pt x="466" y="1910"/>
                  </a:cubicBezTo>
                  <a:cubicBezTo>
                    <a:pt x="463" y="1895"/>
                    <a:pt x="463" y="1895"/>
                    <a:pt x="463" y="1895"/>
                  </a:cubicBezTo>
                  <a:cubicBezTo>
                    <a:pt x="433" y="1900"/>
                    <a:pt x="433" y="1900"/>
                    <a:pt x="433" y="1900"/>
                  </a:cubicBezTo>
                  <a:cubicBezTo>
                    <a:pt x="414" y="1890"/>
                    <a:pt x="414" y="1890"/>
                    <a:pt x="414" y="1890"/>
                  </a:cubicBezTo>
                  <a:cubicBezTo>
                    <a:pt x="411" y="1875"/>
                    <a:pt x="411" y="1875"/>
                    <a:pt x="411" y="1875"/>
                  </a:cubicBezTo>
                  <a:cubicBezTo>
                    <a:pt x="411" y="1875"/>
                    <a:pt x="389" y="1886"/>
                    <a:pt x="376" y="1886"/>
                  </a:cubicBezTo>
                  <a:cubicBezTo>
                    <a:pt x="363" y="1886"/>
                    <a:pt x="345" y="1880"/>
                    <a:pt x="333" y="1881"/>
                  </a:cubicBezTo>
                  <a:cubicBezTo>
                    <a:pt x="322" y="1882"/>
                    <a:pt x="287" y="1896"/>
                    <a:pt x="281" y="1902"/>
                  </a:cubicBezTo>
                  <a:cubicBezTo>
                    <a:pt x="276" y="1909"/>
                    <a:pt x="261" y="1912"/>
                    <a:pt x="261" y="1912"/>
                  </a:cubicBezTo>
                  <a:cubicBezTo>
                    <a:pt x="255" y="1927"/>
                    <a:pt x="255" y="1927"/>
                    <a:pt x="255" y="1927"/>
                  </a:cubicBezTo>
                  <a:cubicBezTo>
                    <a:pt x="255" y="1927"/>
                    <a:pt x="255" y="1931"/>
                    <a:pt x="241" y="1928"/>
                  </a:cubicBezTo>
                  <a:cubicBezTo>
                    <a:pt x="229" y="1925"/>
                    <a:pt x="205" y="1922"/>
                    <a:pt x="192" y="1922"/>
                  </a:cubicBezTo>
                  <a:cubicBezTo>
                    <a:pt x="180" y="1922"/>
                    <a:pt x="140" y="1913"/>
                    <a:pt x="140" y="1913"/>
                  </a:cubicBezTo>
                  <a:cubicBezTo>
                    <a:pt x="140" y="1913"/>
                    <a:pt x="115" y="1916"/>
                    <a:pt x="112" y="1903"/>
                  </a:cubicBezTo>
                  <a:cubicBezTo>
                    <a:pt x="110" y="1896"/>
                    <a:pt x="109" y="1889"/>
                    <a:pt x="108" y="1884"/>
                  </a:cubicBezTo>
                  <a:cubicBezTo>
                    <a:pt x="99" y="1885"/>
                    <a:pt x="85" y="1883"/>
                    <a:pt x="85" y="1883"/>
                  </a:cubicBezTo>
                  <a:cubicBezTo>
                    <a:pt x="83" y="1880"/>
                    <a:pt x="82" y="1878"/>
                    <a:pt x="81" y="1876"/>
                  </a:cubicBezTo>
                  <a:cubicBezTo>
                    <a:pt x="79" y="1878"/>
                    <a:pt x="79" y="1878"/>
                    <a:pt x="79" y="1878"/>
                  </a:cubicBezTo>
                  <a:cubicBezTo>
                    <a:pt x="59" y="1876"/>
                    <a:pt x="59" y="1876"/>
                    <a:pt x="59" y="1876"/>
                  </a:cubicBezTo>
                  <a:cubicBezTo>
                    <a:pt x="50" y="1891"/>
                    <a:pt x="50" y="1891"/>
                    <a:pt x="50" y="1891"/>
                  </a:cubicBezTo>
                  <a:cubicBezTo>
                    <a:pt x="52" y="1896"/>
                    <a:pt x="52" y="1896"/>
                    <a:pt x="52" y="1896"/>
                  </a:cubicBezTo>
                  <a:cubicBezTo>
                    <a:pt x="52" y="1896"/>
                    <a:pt x="59" y="1895"/>
                    <a:pt x="62" y="1900"/>
                  </a:cubicBezTo>
                  <a:cubicBezTo>
                    <a:pt x="65" y="1905"/>
                    <a:pt x="64" y="1913"/>
                    <a:pt x="64" y="1913"/>
                  </a:cubicBezTo>
                  <a:cubicBezTo>
                    <a:pt x="64" y="1913"/>
                    <a:pt x="51" y="1909"/>
                    <a:pt x="50" y="1915"/>
                  </a:cubicBezTo>
                  <a:cubicBezTo>
                    <a:pt x="49" y="1921"/>
                    <a:pt x="54" y="1924"/>
                    <a:pt x="52" y="1931"/>
                  </a:cubicBezTo>
                  <a:cubicBezTo>
                    <a:pt x="50" y="1938"/>
                    <a:pt x="47" y="1943"/>
                    <a:pt x="47" y="1943"/>
                  </a:cubicBezTo>
                  <a:cubicBezTo>
                    <a:pt x="47" y="1943"/>
                    <a:pt x="35" y="1955"/>
                    <a:pt x="50" y="1954"/>
                  </a:cubicBezTo>
                  <a:cubicBezTo>
                    <a:pt x="65" y="1953"/>
                    <a:pt x="76" y="1948"/>
                    <a:pt x="76" y="1948"/>
                  </a:cubicBezTo>
                  <a:cubicBezTo>
                    <a:pt x="76" y="1948"/>
                    <a:pt x="72" y="1958"/>
                    <a:pt x="80" y="1955"/>
                  </a:cubicBezTo>
                  <a:cubicBezTo>
                    <a:pt x="88" y="1952"/>
                    <a:pt x="107" y="1933"/>
                    <a:pt x="107" y="1933"/>
                  </a:cubicBezTo>
                  <a:cubicBezTo>
                    <a:pt x="107" y="1933"/>
                    <a:pt x="141" y="1921"/>
                    <a:pt x="152" y="1929"/>
                  </a:cubicBezTo>
                  <a:cubicBezTo>
                    <a:pt x="163" y="1937"/>
                    <a:pt x="197" y="1942"/>
                    <a:pt x="197" y="1942"/>
                  </a:cubicBezTo>
                  <a:cubicBezTo>
                    <a:pt x="197" y="1942"/>
                    <a:pt x="166" y="1946"/>
                    <a:pt x="165" y="1949"/>
                  </a:cubicBezTo>
                  <a:cubicBezTo>
                    <a:pt x="164" y="1952"/>
                    <a:pt x="159" y="1961"/>
                    <a:pt x="159" y="1961"/>
                  </a:cubicBezTo>
                  <a:cubicBezTo>
                    <a:pt x="126" y="1962"/>
                    <a:pt x="126" y="1962"/>
                    <a:pt x="126" y="1962"/>
                  </a:cubicBezTo>
                  <a:cubicBezTo>
                    <a:pt x="92" y="1959"/>
                    <a:pt x="92" y="1959"/>
                    <a:pt x="92" y="1959"/>
                  </a:cubicBezTo>
                  <a:cubicBezTo>
                    <a:pt x="92" y="1959"/>
                    <a:pt x="66" y="1965"/>
                    <a:pt x="62" y="1973"/>
                  </a:cubicBezTo>
                  <a:cubicBezTo>
                    <a:pt x="58" y="1981"/>
                    <a:pt x="49" y="2011"/>
                    <a:pt x="49" y="2011"/>
                  </a:cubicBezTo>
                  <a:cubicBezTo>
                    <a:pt x="76" y="2010"/>
                    <a:pt x="76" y="2010"/>
                    <a:pt x="76" y="2010"/>
                  </a:cubicBezTo>
                  <a:cubicBezTo>
                    <a:pt x="76" y="2010"/>
                    <a:pt x="72" y="2019"/>
                    <a:pt x="77" y="2027"/>
                  </a:cubicBezTo>
                  <a:cubicBezTo>
                    <a:pt x="82" y="2035"/>
                    <a:pt x="88" y="2043"/>
                    <a:pt x="88" y="2043"/>
                  </a:cubicBezTo>
                  <a:cubicBezTo>
                    <a:pt x="83" y="2054"/>
                    <a:pt x="83" y="2054"/>
                    <a:pt x="83" y="2054"/>
                  </a:cubicBezTo>
                  <a:cubicBezTo>
                    <a:pt x="93" y="2069"/>
                    <a:pt x="93" y="2069"/>
                    <a:pt x="93" y="2069"/>
                  </a:cubicBezTo>
                  <a:cubicBezTo>
                    <a:pt x="84" y="2080"/>
                    <a:pt x="84" y="2080"/>
                    <a:pt x="84" y="2080"/>
                  </a:cubicBezTo>
                  <a:cubicBezTo>
                    <a:pt x="108" y="2102"/>
                    <a:pt x="108" y="2102"/>
                    <a:pt x="108" y="2102"/>
                  </a:cubicBezTo>
                  <a:cubicBezTo>
                    <a:pt x="106" y="2126"/>
                    <a:pt x="106" y="2126"/>
                    <a:pt x="106" y="2126"/>
                  </a:cubicBezTo>
                  <a:cubicBezTo>
                    <a:pt x="140" y="2143"/>
                    <a:pt x="140" y="2143"/>
                    <a:pt x="140" y="2143"/>
                  </a:cubicBezTo>
                  <a:cubicBezTo>
                    <a:pt x="146" y="2165"/>
                    <a:pt x="146" y="2165"/>
                    <a:pt x="146" y="2165"/>
                  </a:cubicBezTo>
                  <a:cubicBezTo>
                    <a:pt x="146" y="2165"/>
                    <a:pt x="143" y="2153"/>
                    <a:pt x="162" y="2158"/>
                  </a:cubicBezTo>
                  <a:cubicBezTo>
                    <a:pt x="181" y="2163"/>
                    <a:pt x="178" y="2180"/>
                    <a:pt x="208" y="2183"/>
                  </a:cubicBezTo>
                  <a:cubicBezTo>
                    <a:pt x="238" y="2186"/>
                    <a:pt x="250" y="2185"/>
                    <a:pt x="250" y="2178"/>
                  </a:cubicBezTo>
                  <a:cubicBezTo>
                    <a:pt x="250" y="2171"/>
                    <a:pt x="252" y="2152"/>
                    <a:pt x="262" y="2151"/>
                  </a:cubicBezTo>
                  <a:cubicBezTo>
                    <a:pt x="272" y="2150"/>
                    <a:pt x="299" y="2157"/>
                    <a:pt x="313" y="2162"/>
                  </a:cubicBezTo>
                  <a:cubicBezTo>
                    <a:pt x="327" y="2167"/>
                    <a:pt x="313" y="2194"/>
                    <a:pt x="359" y="2193"/>
                  </a:cubicBezTo>
                  <a:cubicBezTo>
                    <a:pt x="405" y="2192"/>
                    <a:pt x="406" y="2167"/>
                    <a:pt x="422" y="2162"/>
                  </a:cubicBezTo>
                  <a:cubicBezTo>
                    <a:pt x="438" y="2157"/>
                    <a:pt x="450" y="2153"/>
                    <a:pt x="457" y="2159"/>
                  </a:cubicBezTo>
                  <a:cubicBezTo>
                    <a:pt x="464" y="2165"/>
                    <a:pt x="466" y="2171"/>
                    <a:pt x="477" y="2166"/>
                  </a:cubicBezTo>
                  <a:cubicBezTo>
                    <a:pt x="488" y="2161"/>
                    <a:pt x="495" y="2145"/>
                    <a:pt x="502" y="2152"/>
                  </a:cubicBezTo>
                  <a:cubicBezTo>
                    <a:pt x="509" y="2159"/>
                    <a:pt x="501" y="2168"/>
                    <a:pt x="498" y="2174"/>
                  </a:cubicBezTo>
                  <a:cubicBezTo>
                    <a:pt x="495" y="2180"/>
                    <a:pt x="488" y="2192"/>
                    <a:pt x="495" y="2197"/>
                  </a:cubicBezTo>
                  <a:cubicBezTo>
                    <a:pt x="496" y="2198"/>
                    <a:pt x="497" y="2199"/>
                    <a:pt x="496" y="2201"/>
                  </a:cubicBezTo>
                  <a:cubicBezTo>
                    <a:pt x="494" y="2206"/>
                    <a:pt x="484" y="2214"/>
                    <a:pt x="487" y="2221"/>
                  </a:cubicBezTo>
                  <a:cubicBezTo>
                    <a:pt x="483" y="2222"/>
                    <a:pt x="483" y="2222"/>
                    <a:pt x="483" y="2222"/>
                  </a:cubicBezTo>
                  <a:cubicBezTo>
                    <a:pt x="482" y="2254"/>
                    <a:pt x="482" y="2254"/>
                    <a:pt x="482" y="2254"/>
                  </a:cubicBezTo>
                  <a:cubicBezTo>
                    <a:pt x="482" y="2254"/>
                    <a:pt x="496" y="2262"/>
                    <a:pt x="499" y="2270"/>
                  </a:cubicBezTo>
                  <a:cubicBezTo>
                    <a:pt x="499" y="2272"/>
                    <a:pt x="499" y="2274"/>
                    <a:pt x="498" y="2275"/>
                  </a:cubicBezTo>
                  <a:cubicBezTo>
                    <a:pt x="491" y="2285"/>
                    <a:pt x="482" y="2291"/>
                    <a:pt x="482" y="2291"/>
                  </a:cubicBezTo>
                  <a:cubicBezTo>
                    <a:pt x="473" y="2315"/>
                    <a:pt x="473" y="2315"/>
                    <a:pt x="473" y="2315"/>
                  </a:cubicBezTo>
                  <a:cubicBezTo>
                    <a:pt x="473" y="2315"/>
                    <a:pt x="463" y="2339"/>
                    <a:pt x="462" y="2359"/>
                  </a:cubicBezTo>
                  <a:cubicBezTo>
                    <a:pt x="462" y="2364"/>
                    <a:pt x="462" y="2370"/>
                    <a:pt x="463" y="2375"/>
                  </a:cubicBezTo>
                  <a:cubicBezTo>
                    <a:pt x="464" y="2388"/>
                    <a:pt x="468" y="2399"/>
                    <a:pt x="468" y="2399"/>
                  </a:cubicBezTo>
                  <a:cubicBezTo>
                    <a:pt x="454" y="2425"/>
                    <a:pt x="454" y="2425"/>
                    <a:pt x="454" y="2425"/>
                  </a:cubicBezTo>
                  <a:cubicBezTo>
                    <a:pt x="452" y="2441"/>
                    <a:pt x="452" y="2441"/>
                    <a:pt x="452" y="2441"/>
                  </a:cubicBezTo>
                  <a:cubicBezTo>
                    <a:pt x="441" y="2449"/>
                    <a:pt x="441" y="2449"/>
                    <a:pt x="441" y="2449"/>
                  </a:cubicBezTo>
                  <a:cubicBezTo>
                    <a:pt x="477" y="2542"/>
                    <a:pt x="477" y="2542"/>
                    <a:pt x="477" y="2542"/>
                  </a:cubicBezTo>
                  <a:cubicBezTo>
                    <a:pt x="482" y="2552"/>
                    <a:pt x="482" y="2552"/>
                    <a:pt x="482" y="2552"/>
                  </a:cubicBezTo>
                  <a:cubicBezTo>
                    <a:pt x="484" y="2558"/>
                    <a:pt x="484" y="2558"/>
                    <a:pt x="484" y="2558"/>
                  </a:cubicBezTo>
                  <a:cubicBezTo>
                    <a:pt x="484" y="2558"/>
                    <a:pt x="485" y="2558"/>
                    <a:pt x="485" y="2558"/>
                  </a:cubicBezTo>
                  <a:cubicBezTo>
                    <a:pt x="479" y="2559"/>
                    <a:pt x="479" y="2563"/>
                    <a:pt x="479" y="2564"/>
                  </a:cubicBezTo>
                  <a:cubicBezTo>
                    <a:pt x="479" y="2564"/>
                    <a:pt x="479" y="2564"/>
                    <a:pt x="479" y="2564"/>
                  </a:cubicBezTo>
                  <a:cubicBezTo>
                    <a:pt x="479" y="2573"/>
                    <a:pt x="467" y="2640"/>
                    <a:pt x="479" y="2652"/>
                  </a:cubicBezTo>
                  <a:cubicBezTo>
                    <a:pt x="491" y="2663"/>
                    <a:pt x="516" y="2663"/>
                    <a:pt x="521" y="2677"/>
                  </a:cubicBezTo>
                  <a:cubicBezTo>
                    <a:pt x="527" y="2691"/>
                    <a:pt x="543" y="2728"/>
                    <a:pt x="552" y="2737"/>
                  </a:cubicBezTo>
                  <a:cubicBezTo>
                    <a:pt x="561" y="2746"/>
                    <a:pt x="580" y="2761"/>
                    <a:pt x="587" y="2773"/>
                  </a:cubicBezTo>
                  <a:cubicBezTo>
                    <a:pt x="595" y="2786"/>
                    <a:pt x="599" y="2824"/>
                    <a:pt x="612" y="2836"/>
                  </a:cubicBezTo>
                  <a:cubicBezTo>
                    <a:pt x="624" y="2848"/>
                    <a:pt x="651" y="2837"/>
                    <a:pt x="668" y="2856"/>
                  </a:cubicBezTo>
                  <a:cubicBezTo>
                    <a:pt x="685" y="2875"/>
                    <a:pt x="699" y="2934"/>
                    <a:pt x="699" y="2963"/>
                  </a:cubicBezTo>
                  <a:cubicBezTo>
                    <a:pt x="699" y="2993"/>
                    <a:pt x="734" y="3029"/>
                    <a:pt x="734" y="3029"/>
                  </a:cubicBezTo>
                  <a:cubicBezTo>
                    <a:pt x="734" y="3029"/>
                    <a:pt x="758" y="3026"/>
                    <a:pt x="767" y="3034"/>
                  </a:cubicBezTo>
                  <a:cubicBezTo>
                    <a:pt x="775" y="3042"/>
                    <a:pt x="811" y="3107"/>
                    <a:pt x="825" y="3131"/>
                  </a:cubicBezTo>
                  <a:cubicBezTo>
                    <a:pt x="839" y="3155"/>
                    <a:pt x="887" y="3213"/>
                    <a:pt x="886" y="3229"/>
                  </a:cubicBezTo>
                  <a:cubicBezTo>
                    <a:pt x="886" y="3236"/>
                    <a:pt x="884" y="3245"/>
                    <a:pt x="881" y="3254"/>
                  </a:cubicBezTo>
                  <a:cubicBezTo>
                    <a:pt x="879" y="3263"/>
                    <a:pt x="876" y="3272"/>
                    <a:pt x="875" y="3277"/>
                  </a:cubicBezTo>
                  <a:cubicBezTo>
                    <a:pt x="873" y="3287"/>
                    <a:pt x="897" y="3306"/>
                    <a:pt x="897" y="3306"/>
                  </a:cubicBezTo>
                  <a:cubicBezTo>
                    <a:pt x="888" y="3383"/>
                    <a:pt x="888" y="3383"/>
                    <a:pt x="888" y="3383"/>
                  </a:cubicBezTo>
                  <a:cubicBezTo>
                    <a:pt x="909" y="3405"/>
                    <a:pt x="909" y="3405"/>
                    <a:pt x="909" y="3405"/>
                  </a:cubicBezTo>
                  <a:cubicBezTo>
                    <a:pt x="909" y="3405"/>
                    <a:pt x="914" y="3434"/>
                    <a:pt x="933" y="3438"/>
                  </a:cubicBezTo>
                  <a:cubicBezTo>
                    <a:pt x="952" y="3443"/>
                    <a:pt x="967" y="3442"/>
                    <a:pt x="979" y="3434"/>
                  </a:cubicBezTo>
                  <a:cubicBezTo>
                    <a:pt x="991" y="3426"/>
                    <a:pt x="995" y="3400"/>
                    <a:pt x="1006" y="3400"/>
                  </a:cubicBezTo>
                  <a:cubicBezTo>
                    <a:pt x="1018" y="3399"/>
                    <a:pt x="1033" y="3406"/>
                    <a:pt x="1055" y="3403"/>
                  </a:cubicBezTo>
                  <a:cubicBezTo>
                    <a:pt x="1077" y="3400"/>
                    <a:pt x="1103" y="3395"/>
                    <a:pt x="1116" y="3395"/>
                  </a:cubicBezTo>
                  <a:cubicBezTo>
                    <a:pt x="1129" y="3396"/>
                    <a:pt x="1150" y="3362"/>
                    <a:pt x="1165" y="3356"/>
                  </a:cubicBezTo>
                  <a:cubicBezTo>
                    <a:pt x="1181" y="3351"/>
                    <a:pt x="1189" y="3331"/>
                    <a:pt x="1207" y="3326"/>
                  </a:cubicBezTo>
                  <a:cubicBezTo>
                    <a:pt x="1225" y="3320"/>
                    <a:pt x="1270" y="3294"/>
                    <a:pt x="1270" y="3294"/>
                  </a:cubicBezTo>
                  <a:cubicBezTo>
                    <a:pt x="1319" y="3293"/>
                    <a:pt x="1319" y="3293"/>
                    <a:pt x="1319" y="3293"/>
                  </a:cubicBezTo>
                  <a:cubicBezTo>
                    <a:pt x="1319" y="3293"/>
                    <a:pt x="1339" y="3248"/>
                    <a:pt x="1352" y="3238"/>
                  </a:cubicBezTo>
                  <a:cubicBezTo>
                    <a:pt x="1353" y="3236"/>
                    <a:pt x="1356" y="3235"/>
                    <a:pt x="1360" y="3233"/>
                  </a:cubicBezTo>
                  <a:cubicBezTo>
                    <a:pt x="1387" y="3222"/>
                    <a:pt x="1465" y="3203"/>
                    <a:pt x="1468" y="3198"/>
                  </a:cubicBezTo>
                  <a:cubicBezTo>
                    <a:pt x="1473" y="3192"/>
                    <a:pt x="1475" y="3163"/>
                    <a:pt x="1475" y="3163"/>
                  </a:cubicBezTo>
                  <a:cubicBezTo>
                    <a:pt x="1475" y="3163"/>
                    <a:pt x="1517" y="3157"/>
                    <a:pt x="1526" y="3146"/>
                  </a:cubicBezTo>
                  <a:cubicBezTo>
                    <a:pt x="1534" y="3136"/>
                    <a:pt x="1534" y="3118"/>
                    <a:pt x="1534" y="3118"/>
                  </a:cubicBezTo>
                  <a:cubicBezTo>
                    <a:pt x="1534" y="3118"/>
                    <a:pt x="1566" y="3107"/>
                    <a:pt x="1575" y="3092"/>
                  </a:cubicBezTo>
                  <a:cubicBezTo>
                    <a:pt x="1585" y="3076"/>
                    <a:pt x="1580" y="3038"/>
                    <a:pt x="1589" y="3037"/>
                  </a:cubicBezTo>
                  <a:cubicBezTo>
                    <a:pt x="1598" y="3036"/>
                    <a:pt x="1608" y="3048"/>
                    <a:pt x="1618" y="3037"/>
                  </a:cubicBezTo>
                  <a:cubicBezTo>
                    <a:pt x="1629" y="3026"/>
                    <a:pt x="1624" y="3006"/>
                    <a:pt x="1624" y="3006"/>
                  </a:cubicBezTo>
                  <a:cubicBezTo>
                    <a:pt x="1661" y="2972"/>
                    <a:pt x="1661" y="2972"/>
                    <a:pt x="1661" y="2972"/>
                  </a:cubicBezTo>
                  <a:cubicBezTo>
                    <a:pt x="1661" y="2972"/>
                    <a:pt x="1670" y="2932"/>
                    <a:pt x="1665" y="2922"/>
                  </a:cubicBezTo>
                  <a:cubicBezTo>
                    <a:pt x="1661" y="2912"/>
                    <a:pt x="1645" y="2915"/>
                    <a:pt x="1645" y="2915"/>
                  </a:cubicBezTo>
                  <a:cubicBezTo>
                    <a:pt x="1645" y="2915"/>
                    <a:pt x="1623" y="2875"/>
                    <a:pt x="1608" y="2862"/>
                  </a:cubicBezTo>
                  <a:cubicBezTo>
                    <a:pt x="1593" y="2849"/>
                    <a:pt x="1543" y="2840"/>
                    <a:pt x="1543" y="2840"/>
                  </a:cubicBezTo>
                  <a:cubicBezTo>
                    <a:pt x="1543" y="2840"/>
                    <a:pt x="1500" y="2826"/>
                    <a:pt x="1497" y="2811"/>
                  </a:cubicBezTo>
                  <a:cubicBezTo>
                    <a:pt x="1496" y="2806"/>
                    <a:pt x="1493" y="2801"/>
                    <a:pt x="1490" y="2795"/>
                  </a:cubicBezTo>
                  <a:cubicBezTo>
                    <a:pt x="1485" y="2782"/>
                    <a:pt x="1478" y="2767"/>
                    <a:pt x="1480" y="2755"/>
                  </a:cubicBezTo>
                  <a:cubicBezTo>
                    <a:pt x="1483" y="2738"/>
                    <a:pt x="1488" y="2710"/>
                    <a:pt x="1481" y="2707"/>
                  </a:cubicBezTo>
                  <a:cubicBezTo>
                    <a:pt x="1473" y="2704"/>
                    <a:pt x="1452" y="2755"/>
                    <a:pt x="1452" y="2755"/>
                  </a:cubicBezTo>
                  <a:cubicBezTo>
                    <a:pt x="1452" y="2755"/>
                    <a:pt x="1438" y="2757"/>
                    <a:pt x="1432" y="2765"/>
                  </a:cubicBezTo>
                  <a:cubicBezTo>
                    <a:pt x="1427" y="2774"/>
                    <a:pt x="1397" y="2806"/>
                    <a:pt x="1397" y="2806"/>
                  </a:cubicBezTo>
                  <a:cubicBezTo>
                    <a:pt x="1397" y="2806"/>
                    <a:pt x="1397" y="2834"/>
                    <a:pt x="1388" y="2835"/>
                  </a:cubicBezTo>
                  <a:cubicBezTo>
                    <a:pt x="1379" y="2836"/>
                    <a:pt x="1335" y="2831"/>
                    <a:pt x="1328" y="2831"/>
                  </a:cubicBezTo>
                  <a:cubicBezTo>
                    <a:pt x="1322" y="2831"/>
                    <a:pt x="1291" y="2848"/>
                    <a:pt x="1282" y="2844"/>
                  </a:cubicBezTo>
                  <a:cubicBezTo>
                    <a:pt x="1277" y="2842"/>
                    <a:pt x="1271" y="2836"/>
                    <a:pt x="1267" y="2831"/>
                  </a:cubicBezTo>
                  <a:cubicBezTo>
                    <a:pt x="1267" y="2831"/>
                    <a:pt x="1267" y="2831"/>
                    <a:pt x="1267" y="2831"/>
                  </a:cubicBezTo>
                  <a:cubicBezTo>
                    <a:pt x="1263" y="2826"/>
                    <a:pt x="1260" y="2820"/>
                    <a:pt x="1261" y="2816"/>
                  </a:cubicBezTo>
                  <a:cubicBezTo>
                    <a:pt x="1261" y="2816"/>
                    <a:pt x="1261" y="2815"/>
                    <a:pt x="1261" y="2815"/>
                  </a:cubicBezTo>
                  <a:cubicBezTo>
                    <a:pt x="1266" y="2806"/>
                    <a:pt x="1280" y="2776"/>
                    <a:pt x="1278" y="2755"/>
                  </a:cubicBezTo>
                  <a:cubicBezTo>
                    <a:pt x="1276" y="2734"/>
                    <a:pt x="1262" y="2720"/>
                    <a:pt x="1253" y="2723"/>
                  </a:cubicBezTo>
                  <a:cubicBezTo>
                    <a:pt x="1243" y="2726"/>
                    <a:pt x="1241" y="2752"/>
                    <a:pt x="1240" y="2767"/>
                  </a:cubicBezTo>
                  <a:cubicBezTo>
                    <a:pt x="1240" y="2782"/>
                    <a:pt x="1240" y="2803"/>
                    <a:pt x="1232" y="2804"/>
                  </a:cubicBezTo>
                  <a:cubicBezTo>
                    <a:pt x="1232" y="2804"/>
                    <a:pt x="1232" y="2804"/>
                    <a:pt x="1231" y="2803"/>
                  </a:cubicBezTo>
                  <a:cubicBezTo>
                    <a:pt x="1224" y="2801"/>
                    <a:pt x="1217" y="2762"/>
                    <a:pt x="1211" y="2757"/>
                  </a:cubicBezTo>
                  <a:cubicBezTo>
                    <a:pt x="1205" y="2752"/>
                    <a:pt x="1189" y="2749"/>
                    <a:pt x="1186" y="2735"/>
                  </a:cubicBezTo>
                  <a:cubicBezTo>
                    <a:pt x="1182" y="2721"/>
                    <a:pt x="1187" y="2699"/>
                    <a:pt x="1174" y="2689"/>
                  </a:cubicBezTo>
                  <a:cubicBezTo>
                    <a:pt x="1160" y="2678"/>
                    <a:pt x="1142" y="2680"/>
                    <a:pt x="1136" y="2668"/>
                  </a:cubicBezTo>
                  <a:cubicBezTo>
                    <a:pt x="1130" y="2655"/>
                    <a:pt x="1137" y="2642"/>
                    <a:pt x="1131" y="2638"/>
                  </a:cubicBezTo>
                  <a:cubicBezTo>
                    <a:pt x="1125" y="2634"/>
                    <a:pt x="1113" y="2621"/>
                    <a:pt x="1113" y="2621"/>
                  </a:cubicBezTo>
                  <a:cubicBezTo>
                    <a:pt x="1112" y="2604"/>
                    <a:pt x="1112" y="2604"/>
                    <a:pt x="1112" y="2604"/>
                  </a:cubicBezTo>
                  <a:cubicBezTo>
                    <a:pt x="1112" y="2604"/>
                    <a:pt x="1109" y="2601"/>
                    <a:pt x="1104" y="2598"/>
                  </a:cubicBezTo>
                  <a:cubicBezTo>
                    <a:pt x="1094" y="2590"/>
                    <a:pt x="1078" y="2576"/>
                    <a:pt x="1079" y="2565"/>
                  </a:cubicBezTo>
                  <a:cubicBezTo>
                    <a:pt x="1079" y="2565"/>
                    <a:pt x="1079" y="2565"/>
                    <a:pt x="1079" y="2564"/>
                  </a:cubicBezTo>
                  <a:cubicBezTo>
                    <a:pt x="1071" y="2559"/>
                    <a:pt x="1071" y="2559"/>
                    <a:pt x="1071" y="2559"/>
                  </a:cubicBezTo>
                  <a:cubicBezTo>
                    <a:pt x="1070" y="2545"/>
                    <a:pt x="1070" y="2545"/>
                    <a:pt x="1070" y="2545"/>
                  </a:cubicBezTo>
                  <a:cubicBezTo>
                    <a:pt x="1070" y="2545"/>
                    <a:pt x="1084" y="2543"/>
                    <a:pt x="1088" y="2543"/>
                  </a:cubicBezTo>
                  <a:cubicBezTo>
                    <a:pt x="1092" y="2543"/>
                    <a:pt x="1092" y="2534"/>
                    <a:pt x="1092" y="2534"/>
                  </a:cubicBezTo>
                  <a:cubicBezTo>
                    <a:pt x="1092" y="2534"/>
                    <a:pt x="1092" y="2526"/>
                    <a:pt x="1083" y="2526"/>
                  </a:cubicBezTo>
                  <a:cubicBezTo>
                    <a:pt x="1074" y="2526"/>
                    <a:pt x="1074" y="2531"/>
                    <a:pt x="1074" y="2531"/>
                  </a:cubicBezTo>
                  <a:cubicBezTo>
                    <a:pt x="1070" y="2518"/>
                    <a:pt x="1070" y="2518"/>
                    <a:pt x="1070" y="2518"/>
                  </a:cubicBezTo>
                  <a:cubicBezTo>
                    <a:pt x="1072" y="2523"/>
                    <a:pt x="1072" y="2523"/>
                    <a:pt x="1072" y="2523"/>
                  </a:cubicBezTo>
                  <a:cubicBezTo>
                    <a:pt x="1090" y="2517"/>
                    <a:pt x="1090" y="2517"/>
                    <a:pt x="1090" y="2517"/>
                  </a:cubicBezTo>
                  <a:cubicBezTo>
                    <a:pt x="1093" y="2512"/>
                    <a:pt x="1093" y="2512"/>
                    <a:pt x="1093" y="2512"/>
                  </a:cubicBezTo>
                  <a:cubicBezTo>
                    <a:pt x="1093" y="2512"/>
                    <a:pt x="1093" y="2512"/>
                    <a:pt x="1093" y="2512"/>
                  </a:cubicBezTo>
                  <a:cubicBezTo>
                    <a:pt x="1100" y="2519"/>
                    <a:pt x="1111" y="2524"/>
                    <a:pt x="1116" y="2521"/>
                  </a:cubicBezTo>
                  <a:cubicBezTo>
                    <a:pt x="1123" y="2516"/>
                    <a:pt x="1101" y="2505"/>
                    <a:pt x="1117" y="2498"/>
                  </a:cubicBezTo>
                  <a:cubicBezTo>
                    <a:pt x="1133" y="2491"/>
                    <a:pt x="1132" y="2509"/>
                    <a:pt x="1132" y="2509"/>
                  </a:cubicBezTo>
                  <a:cubicBezTo>
                    <a:pt x="1139" y="2515"/>
                    <a:pt x="1139" y="2515"/>
                    <a:pt x="1139" y="2515"/>
                  </a:cubicBezTo>
                  <a:cubicBezTo>
                    <a:pt x="1140" y="2514"/>
                    <a:pt x="1142" y="2514"/>
                    <a:pt x="1145" y="2515"/>
                  </a:cubicBezTo>
                  <a:cubicBezTo>
                    <a:pt x="1147" y="2516"/>
                    <a:pt x="1148" y="2516"/>
                    <a:pt x="1150" y="2517"/>
                  </a:cubicBezTo>
                  <a:cubicBezTo>
                    <a:pt x="1151" y="2516"/>
                    <a:pt x="1152" y="2514"/>
                    <a:pt x="1152" y="2513"/>
                  </a:cubicBezTo>
                  <a:cubicBezTo>
                    <a:pt x="1153" y="2509"/>
                    <a:pt x="1164" y="2506"/>
                    <a:pt x="1167" y="2508"/>
                  </a:cubicBezTo>
                  <a:cubicBezTo>
                    <a:pt x="1170" y="2510"/>
                    <a:pt x="1165" y="2531"/>
                    <a:pt x="1172" y="2534"/>
                  </a:cubicBezTo>
                  <a:cubicBezTo>
                    <a:pt x="1179" y="2537"/>
                    <a:pt x="1194" y="2548"/>
                    <a:pt x="1194" y="2548"/>
                  </a:cubicBezTo>
                  <a:cubicBezTo>
                    <a:pt x="1194" y="2548"/>
                    <a:pt x="1192" y="2553"/>
                    <a:pt x="1192" y="2558"/>
                  </a:cubicBezTo>
                  <a:cubicBezTo>
                    <a:pt x="1197" y="2564"/>
                    <a:pt x="1202" y="2570"/>
                    <a:pt x="1205" y="2576"/>
                  </a:cubicBezTo>
                  <a:cubicBezTo>
                    <a:pt x="1205" y="2576"/>
                    <a:pt x="1205" y="2576"/>
                    <a:pt x="1205" y="2576"/>
                  </a:cubicBezTo>
                  <a:cubicBezTo>
                    <a:pt x="1209" y="2578"/>
                    <a:pt x="1212" y="2580"/>
                    <a:pt x="1212" y="2580"/>
                  </a:cubicBezTo>
                  <a:cubicBezTo>
                    <a:pt x="1221" y="2593"/>
                    <a:pt x="1221" y="2593"/>
                    <a:pt x="1221" y="2593"/>
                  </a:cubicBezTo>
                  <a:cubicBezTo>
                    <a:pt x="1221" y="2593"/>
                    <a:pt x="1223" y="2617"/>
                    <a:pt x="1233" y="2619"/>
                  </a:cubicBezTo>
                  <a:cubicBezTo>
                    <a:pt x="1243" y="2621"/>
                    <a:pt x="1243" y="2637"/>
                    <a:pt x="1243" y="2637"/>
                  </a:cubicBezTo>
                  <a:cubicBezTo>
                    <a:pt x="1265" y="2637"/>
                    <a:pt x="1265" y="2637"/>
                    <a:pt x="1265" y="2637"/>
                  </a:cubicBezTo>
                  <a:cubicBezTo>
                    <a:pt x="1277" y="2649"/>
                    <a:pt x="1277" y="2649"/>
                    <a:pt x="1277" y="2649"/>
                  </a:cubicBezTo>
                  <a:cubicBezTo>
                    <a:pt x="1285" y="2647"/>
                    <a:pt x="1292" y="2645"/>
                    <a:pt x="1299" y="2649"/>
                  </a:cubicBezTo>
                  <a:cubicBezTo>
                    <a:pt x="1309" y="2654"/>
                    <a:pt x="1338" y="2679"/>
                    <a:pt x="1360" y="2696"/>
                  </a:cubicBezTo>
                  <a:cubicBezTo>
                    <a:pt x="1361" y="2697"/>
                    <a:pt x="1362" y="2697"/>
                    <a:pt x="1363" y="2697"/>
                  </a:cubicBezTo>
                  <a:cubicBezTo>
                    <a:pt x="1369" y="2697"/>
                    <a:pt x="1380" y="2699"/>
                    <a:pt x="1380" y="2699"/>
                  </a:cubicBezTo>
                  <a:cubicBezTo>
                    <a:pt x="1380" y="2699"/>
                    <a:pt x="1383" y="2713"/>
                    <a:pt x="1399" y="2708"/>
                  </a:cubicBezTo>
                  <a:cubicBezTo>
                    <a:pt x="1415" y="2703"/>
                    <a:pt x="1418" y="2696"/>
                    <a:pt x="1418" y="2696"/>
                  </a:cubicBezTo>
                  <a:cubicBezTo>
                    <a:pt x="1434" y="2698"/>
                    <a:pt x="1434" y="2698"/>
                    <a:pt x="1434" y="2698"/>
                  </a:cubicBezTo>
                  <a:cubicBezTo>
                    <a:pt x="1440" y="2684"/>
                    <a:pt x="1440" y="2684"/>
                    <a:pt x="1440" y="2684"/>
                  </a:cubicBezTo>
                  <a:cubicBezTo>
                    <a:pt x="1454" y="2682"/>
                    <a:pt x="1454" y="2682"/>
                    <a:pt x="1454" y="2682"/>
                  </a:cubicBezTo>
                  <a:cubicBezTo>
                    <a:pt x="1470" y="2667"/>
                    <a:pt x="1470" y="2667"/>
                    <a:pt x="1470" y="2667"/>
                  </a:cubicBezTo>
                  <a:cubicBezTo>
                    <a:pt x="1475" y="2675"/>
                    <a:pt x="1475" y="2675"/>
                    <a:pt x="1475" y="2675"/>
                  </a:cubicBezTo>
                  <a:cubicBezTo>
                    <a:pt x="1483" y="2673"/>
                    <a:pt x="1490" y="2672"/>
                    <a:pt x="1493" y="2676"/>
                  </a:cubicBezTo>
                  <a:cubicBezTo>
                    <a:pt x="1506" y="2687"/>
                    <a:pt x="1520" y="2710"/>
                    <a:pt x="1522" y="2728"/>
                  </a:cubicBezTo>
                  <a:cubicBezTo>
                    <a:pt x="1524" y="2747"/>
                    <a:pt x="1552" y="2745"/>
                    <a:pt x="1552" y="2745"/>
                  </a:cubicBezTo>
                  <a:cubicBezTo>
                    <a:pt x="1552" y="2745"/>
                    <a:pt x="1551" y="2752"/>
                    <a:pt x="1564" y="2755"/>
                  </a:cubicBezTo>
                  <a:cubicBezTo>
                    <a:pt x="1577" y="2758"/>
                    <a:pt x="1608" y="2754"/>
                    <a:pt x="1608" y="2754"/>
                  </a:cubicBezTo>
                  <a:cubicBezTo>
                    <a:pt x="1608" y="2754"/>
                    <a:pt x="1634" y="2774"/>
                    <a:pt x="1639" y="2774"/>
                  </a:cubicBezTo>
                  <a:cubicBezTo>
                    <a:pt x="1644" y="2774"/>
                    <a:pt x="1662" y="2765"/>
                    <a:pt x="1662" y="2765"/>
                  </a:cubicBezTo>
                  <a:cubicBezTo>
                    <a:pt x="1662" y="2765"/>
                    <a:pt x="1688" y="2781"/>
                    <a:pt x="1706" y="2782"/>
                  </a:cubicBezTo>
                  <a:cubicBezTo>
                    <a:pt x="1712" y="2782"/>
                    <a:pt x="1718" y="2781"/>
                    <a:pt x="1723" y="2779"/>
                  </a:cubicBezTo>
                  <a:cubicBezTo>
                    <a:pt x="1724" y="2779"/>
                    <a:pt x="1724" y="2779"/>
                    <a:pt x="1724" y="2779"/>
                  </a:cubicBezTo>
                  <a:cubicBezTo>
                    <a:pt x="1734" y="2775"/>
                    <a:pt x="1742" y="2770"/>
                    <a:pt x="1742" y="2770"/>
                  </a:cubicBezTo>
                  <a:cubicBezTo>
                    <a:pt x="1742" y="2770"/>
                    <a:pt x="1764" y="2777"/>
                    <a:pt x="1774" y="2777"/>
                  </a:cubicBezTo>
                  <a:cubicBezTo>
                    <a:pt x="1784" y="2778"/>
                    <a:pt x="1813" y="2762"/>
                    <a:pt x="1813" y="2762"/>
                  </a:cubicBezTo>
                  <a:cubicBezTo>
                    <a:pt x="1813" y="2762"/>
                    <a:pt x="1829" y="2770"/>
                    <a:pt x="1839" y="2768"/>
                  </a:cubicBezTo>
                  <a:cubicBezTo>
                    <a:pt x="1850" y="2766"/>
                    <a:pt x="1872" y="2757"/>
                    <a:pt x="1872" y="2757"/>
                  </a:cubicBezTo>
                  <a:cubicBezTo>
                    <a:pt x="1898" y="2764"/>
                    <a:pt x="1898" y="2764"/>
                    <a:pt x="1898" y="2764"/>
                  </a:cubicBezTo>
                  <a:cubicBezTo>
                    <a:pt x="1898" y="2764"/>
                    <a:pt x="1913" y="2743"/>
                    <a:pt x="1931" y="2755"/>
                  </a:cubicBezTo>
                  <a:cubicBezTo>
                    <a:pt x="1948" y="2766"/>
                    <a:pt x="1949" y="2801"/>
                    <a:pt x="1963" y="2804"/>
                  </a:cubicBezTo>
                  <a:cubicBezTo>
                    <a:pt x="1977" y="2807"/>
                    <a:pt x="2003" y="2807"/>
                    <a:pt x="2012" y="2816"/>
                  </a:cubicBezTo>
                  <a:cubicBezTo>
                    <a:pt x="2022" y="2825"/>
                    <a:pt x="2023" y="2846"/>
                    <a:pt x="2034" y="2847"/>
                  </a:cubicBezTo>
                  <a:cubicBezTo>
                    <a:pt x="2037" y="2847"/>
                    <a:pt x="2041" y="2847"/>
                    <a:pt x="2045" y="2847"/>
                  </a:cubicBezTo>
                  <a:cubicBezTo>
                    <a:pt x="2056" y="2848"/>
                    <a:pt x="2068" y="2848"/>
                    <a:pt x="2068" y="2848"/>
                  </a:cubicBezTo>
                  <a:cubicBezTo>
                    <a:pt x="2068" y="2848"/>
                    <a:pt x="2058" y="2872"/>
                    <a:pt x="2071" y="2881"/>
                  </a:cubicBezTo>
                  <a:cubicBezTo>
                    <a:pt x="2083" y="2891"/>
                    <a:pt x="2116" y="2894"/>
                    <a:pt x="2123" y="2892"/>
                  </a:cubicBezTo>
                  <a:cubicBezTo>
                    <a:pt x="2129" y="2890"/>
                    <a:pt x="2153" y="2873"/>
                    <a:pt x="2153" y="2873"/>
                  </a:cubicBezTo>
                  <a:cubicBezTo>
                    <a:pt x="2153" y="2873"/>
                    <a:pt x="2163" y="2885"/>
                    <a:pt x="2151" y="2896"/>
                  </a:cubicBezTo>
                  <a:cubicBezTo>
                    <a:pt x="2139" y="2907"/>
                    <a:pt x="2115" y="2914"/>
                    <a:pt x="2115" y="2914"/>
                  </a:cubicBezTo>
                  <a:cubicBezTo>
                    <a:pt x="2115" y="2914"/>
                    <a:pt x="2077" y="2919"/>
                    <a:pt x="2075" y="2930"/>
                  </a:cubicBezTo>
                  <a:cubicBezTo>
                    <a:pt x="2073" y="2941"/>
                    <a:pt x="2103" y="2965"/>
                    <a:pt x="2115" y="2974"/>
                  </a:cubicBezTo>
                  <a:cubicBezTo>
                    <a:pt x="2128" y="2983"/>
                    <a:pt x="2151" y="3011"/>
                    <a:pt x="2181" y="3013"/>
                  </a:cubicBezTo>
                  <a:cubicBezTo>
                    <a:pt x="2212" y="3016"/>
                    <a:pt x="2250" y="2989"/>
                    <a:pt x="2246" y="2970"/>
                  </a:cubicBezTo>
                  <a:cubicBezTo>
                    <a:pt x="2242" y="2952"/>
                    <a:pt x="2252" y="2937"/>
                    <a:pt x="2262" y="2928"/>
                  </a:cubicBezTo>
                  <a:cubicBezTo>
                    <a:pt x="2271" y="2918"/>
                    <a:pt x="2293" y="2913"/>
                    <a:pt x="2283" y="2930"/>
                  </a:cubicBezTo>
                  <a:cubicBezTo>
                    <a:pt x="2274" y="2947"/>
                    <a:pt x="2251" y="2962"/>
                    <a:pt x="2258" y="2976"/>
                  </a:cubicBezTo>
                  <a:cubicBezTo>
                    <a:pt x="2265" y="2990"/>
                    <a:pt x="2283" y="2988"/>
                    <a:pt x="2283" y="3003"/>
                  </a:cubicBezTo>
                  <a:cubicBezTo>
                    <a:pt x="2282" y="3017"/>
                    <a:pt x="2278" y="3033"/>
                    <a:pt x="2272" y="3056"/>
                  </a:cubicBezTo>
                  <a:cubicBezTo>
                    <a:pt x="2265" y="3080"/>
                    <a:pt x="2265" y="3102"/>
                    <a:pt x="2272" y="3131"/>
                  </a:cubicBezTo>
                  <a:cubicBezTo>
                    <a:pt x="2280" y="3159"/>
                    <a:pt x="2292" y="3209"/>
                    <a:pt x="2303" y="3224"/>
                  </a:cubicBezTo>
                  <a:cubicBezTo>
                    <a:pt x="2314" y="3240"/>
                    <a:pt x="2317" y="3234"/>
                    <a:pt x="2312" y="3257"/>
                  </a:cubicBezTo>
                  <a:cubicBezTo>
                    <a:pt x="2307" y="3280"/>
                    <a:pt x="2344" y="3287"/>
                    <a:pt x="2344" y="3287"/>
                  </a:cubicBezTo>
                  <a:cubicBezTo>
                    <a:pt x="2344" y="3287"/>
                    <a:pt x="2349" y="3319"/>
                    <a:pt x="2357" y="3330"/>
                  </a:cubicBezTo>
                  <a:cubicBezTo>
                    <a:pt x="2366" y="3342"/>
                    <a:pt x="2384" y="3351"/>
                    <a:pt x="2384" y="3351"/>
                  </a:cubicBezTo>
                  <a:cubicBezTo>
                    <a:pt x="2384" y="3351"/>
                    <a:pt x="2389" y="3417"/>
                    <a:pt x="2399" y="3447"/>
                  </a:cubicBezTo>
                  <a:cubicBezTo>
                    <a:pt x="2410" y="3477"/>
                    <a:pt x="2447" y="3518"/>
                    <a:pt x="2452" y="3530"/>
                  </a:cubicBezTo>
                  <a:cubicBezTo>
                    <a:pt x="2457" y="3543"/>
                    <a:pt x="2459" y="3569"/>
                    <a:pt x="2458" y="3581"/>
                  </a:cubicBezTo>
                  <a:cubicBezTo>
                    <a:pt x="2456" y="3593"/>
                    <a:pt x="2524" y="3697"/>
                    <a:pt x="2524" y="3697"/>
                  </a:cubicBezTo>
                  <a:cubicBezTo>
                    <a:pt x="2524" y="3697"/>
                    <a:pt x="2557" y="3688"/>
                    <a:pt x="2563" y="3679"/>
                  </a:cubicBezTo>
                  <a:cubicBezTo>
                    <a:pt x="2568" y="3669"/>
                    <a:pt x="2560" y="3647"/>
                    <a:pt x="2571" y="3640"/>
                  </a:cubicBezTo>
                  <a:cubicBezTo>
                    <a:pt x="2581" y="3633"/>
                    <a:pt x="2585" y="3641"/>
                    <a:pt x="2595" y="3638"/>
                  </a:cubicBezTo>
                  <a:cubicBezTo>
                    <a:pt x="2606" y="3635"/>
                    <a:pt x="2623" y="3622"/>
                    <a:pt x="2623" y="3622"/>
                  </a:cubicBezTo>
                  <a:cubicBezTo>
                    <a:pt x="2623" y="3622"/>
                    <a:pt x="2608" y="3626"/>
                    <a:pt x="2611" y="3609"/>
                  </a:cubicBezTo>
                  <a:cubicBezTo>
                    <a:pt x="2613" y="3592"/>
                    <a:pt x="2620" y="3589"/>
                    <a:pt x="2632" y="3583"/>
                  </a:cubicBezTo>
                  <a:cubicBezTo>
                    <a:pt x="2644" y="3577"/>
                    <a:pt x="2658" y="3574"/>
                    <a:pt x="2658" y="3566"/>
                  </a:cubicBezTo>
                  <a:cubicBezTo>
                    <a:pt x="2659" y="3557"/>
                    <a:pt x="2646" y="3525"/>
                    <a:pt x="2646" y="3506"/>
                  </a:cubicBezTo>
                  <a:cubicBezTo>
                    <a:pt x="2645" y="3488"/>
                    <a:pt x="2644" y="3459"/>
                    <a:pt x="2650" y="3456"/>
                  </a:cubicBezTo>
                  <a:cubicBezTo>
                    <a:pt x="2657" y="3452"/>
                    <a:pt x="2654" y="3444"/>
                    <a:pt x="2655" y="3412"/>
                  </a:cubicBezTo>
                  <a:cubicBezTo>
                    <a:pt x="2657" y="3380"/>
                    <a:pt x="2637" y="3380"/>
                    <a:pt x="2635" y="3367"/>
                  </a:cubicBezTo>
                  <a:cubicBezTo>
                    <a:pt x="2633" y="3355"/>
                    <a:pt x="2643" y="3349"/>
                    <a:pt x="2644" y="3337"/>
                  </a:cubicBezTo>
                  <a:cubicBezTo>
                    <a:pt x="2646" y="3325"/>
                    <a:pt x="2639" y="3318"/>
                    <a:pt x="2639" y="3302"/>
                  </a:cubicBezTo>
                  <a:cubicBezTo>
                    <a:pt x="2640" y="3286"/>
                    <a:pt x="2676" y="3284"/>
                    <a:pt x="2676" y="3277"/>
                  </a:cubicBezTo>
                  <a:cubicBezTo>
                    <a:pt x="2676" y="3270"/>
                    <a:pt x="2676" y="3254"/>
                    <a:pt x="2683" y="3249"/>
                  </a:cubicBezTo>
                  <a:cubicBezTo>
                    <a:pt x="2691" y="3244"/>
                    <a:pt x="2705" y="3245"/>
                    <a:pt x="2705" y="3245"/>
                  </a:cubicBezTo>
                  <a:cubicBezTo>
                    <a:pt x="2708" y="3239"/>
                    <a:pt x="2708" y="3239"/>
                    <a:pt x="2708" y="3239"/>
                  </a:cubicBezTo>
                  <a:cubicBezTo>
                    <a:pt x="2708" y="3239"/>
                    <a:pt x="2731" y="3250"/>
                    <a:pt x="2733" y="3239"/>
                  </a:cubicBezTo>
                  <a:cubicBezTo>
                    <a:pt x="2735" y="3228"/>
                    <a:pt x="2754" y="3193"/>
                    <a:pt x="2760" y="3183"/>
                  </a:cubicBezTo>
                  <a:cubicBezTo>
                    <a:pt x="2767" y="3174"/>
                    <a:pt x="2789" y="3175"/>
                    <a:pt x="2796" y="3161"/>
                  </a:cubicBezTo>
                  <a:cubicBezTo>
                    <a:pt x="2803" y="3148"/>
                    <a:pt x="2814" y="3120"/>
                    <a:pt x="2824" y="3111"/>
                  </a:cubicBezTo>
                  <a:cubicBezTo>
                    <a:pt x="2833" y="3101"/>
                    <a:pt x="2872" y="3081"/>
                    <a:pt x="2872" y="3081"/>
                  </a:cubicBezTo>
                  <a:cubicBezTo>
                    <a:pt x="2865" y="3061"/>
                    <a:pt x="2865" y="3061"/>
                    <a:pt x="2865" y="3061"/>
                  </a:cubicBezTo>
                  <a:cubicBezTo>
                    <a:pt x="2871" y="3056"/>
                    <a:pt x="2871" y="3056"/>
                    <a:pt x="2871" y="3056"/>
                  </a:cubicBezTo>
                  <a:cubicBezTo>
                    <a:pt x="2884" y="3075"/>
                    <a:pt x="2884" y="3075"/>
                    <a:pt x="2884" y="3075"/>
                  </a:cubicBezTo>
                  <a:cubicBezTo>
                    <a:pt x="2925" y="3036"/>
                    <a:pt x="2925" y="3036"/>
                    <a:pt x="2925" y="3036"/>
                  </a:cubicBezTo>
                  <a:cubicBezTo>
                    <a:pt x="2932" y="3018"/>
                    <a:pt x="2932" y="3018"/>
                    <a:pt x="2932" y="3018"/>
                  </a:cubicBezTo>
                  <a:cubicBezTo>
                    <a:pt x="2932" y="3018"/>
                    <a:pt x="2918" y="3001"/>
                    <a:pt x="2918" y="2990"/>
                  </a:cubicBezTo>
                  <a:cubicBezTo>
                    <a:pt x="2919" y="2979"/>
                    <a:pt x="2942" y="2983"/>
                    <a:pt x="2954" y="2968"/>
                  </a:cubicBezTo>
                  <a:cubicBezTo>
                    <a:pt x="2966" y="2952"/>
                    <a:pt x="2962" y="2939"/>
                    <a:pt x="2962" y="2939"/>
                  </a:cubicBezTo>
                  <a:cubicBezTo>
                    <a:pt x="2973" y="2944"/>
                    <a:pt x="2973" y="2944"/>
                    <a:pt x="2973" y="2944"/>
                  </a:cubicBezTo>
                  <a:cubicBezTo>
                    <a:pt x="2979" y="2962"/>
                    <a:pt x="2979" y="2962"/>
                    <a:pt x="2979" y="2962"/>
                  </a:cubicBezTo>
                  <a:cubicBezTo>
                    <a:pt x="2987" y="2939"/>
                    <a:pt x="2987" y="2939"/>
                    <a:pt x="2987" y="2939"/>
                  </a:cubicBezTo>
                  <a:cubicBezTo>
                    <a:pt x="2987" y="2939"/>
                    <a:pt x="2995" y="2981"/>
                    <a:pt x="3002" y="2984"/>
                  </a:cubicBezTo>
                  <a:cubicBezTo>
                    <a:pt x="3010" y="2986"/>
                    <a:pt x="3013" y="2958"/>
                    <a:pt x="3013" y="2958"/>
                  </a:cubicBezTo>
                  <a:cubicBezTo>
                    <a:pt x="3030" y="2981"/>
                    <a:pt x="3030" y="2981"/>
                    <a:pt x="3030" y="2981"/>
                  </a:cubicBezTo>
                  <a:cubicBezTo>
                    <a:pt x="3032" y="2942"/>
                    <a:pt x="3032" y="2942"/>
                    <a:pt x="3032" y="2942"/>
                  </a:cubicBezTo>
                  <a:cubicBezTo>
                    <a:pt x="3032" y="2942"/>
                    <a:pt x="3074" y="2958"/>
                    <a:pt x="3082" y="2956"/>
                  </a:cubicBezTo>
                  <a:cubicBezTo>
                    <a:pt x="3090" y="2953"/>
                    <a:pt x="3074" y="2935"/>
                    <a:pt x="3083" y="2933"/>
                  </a:cubicBezTo>
                  <a:cubicBezTo>
                    <a:pt x="3092" y="2931"/>
                    <a:pt x="3109" y="2951"/>
                    <a:pt x="3122" y="2946"/>
                  </a:cubicBezTo>
                  <a:cubicBezTo>
                    <a:pt x="3135" y="2942"/>
                    <a:pt x="3130" y="2929"/>
                    <a:pt x="3130" y="2929"/>
                  </a:cubicBezTo>
                  <a:cubicBezTo>
                    <a:pt x="3122" y="2908"/>
                    <a:pt x="3122" y="2908"/>
                    <a:pt x="3122" y="2908"/>
                  </a:cubicBezTo>
                  <a:cubicBezTo>
                    <a:pt x="3153" y="2941"/>
                    <a:pt x="3153" y="2941"/>
                    <a:pt x="3153" y="2941"/>
                  </a:cubicBezTo>
                  <a:cubicBezTo>
                    <a:pt x="3153" y="2941"/>
                    <a:pt x="3141" y="2980"/>
                    <a:pt x="3150" y="2986"/>
                  </a:cubicBezTo>
                  <a:cubicBezTo>
                    <a:pt x="3153" y="2988"/>
                    <a:pt x="3158" y="2989"/>
                    <a:pt x="3162" y="2990"/>
                  </a:cubicBezTo>
                  <a:cubicBezTo>
                    <a:pt x="3162" y="2990"/>
                    <a:pt x="3162" y="2990"/>
                    <a:pt x="3162" y="2990"/>
                  </a:cubicBezTo>
                  <a:cubicBezTo>
                    <a:pt x="3167" y="2990"/>
                    <a:pt x="3171" y="2990"/>
                    <a:pt x="3171" y="2990"/>
                  </a:cubicBezTo>
                  <a:cubicBezTo>
                    <a:pt x="3171" y="3021"/>
                    <a:pt x="3171" y="3021"/>
                    <a:pt x="3171" y="3021"/>
                  </a:cubicBezTo>
                  <a:cubicBezTo>
                    <a:pt x="3171" y="3021"/>
                    <a:pt x="3194" y="3027"/>
                    <a:pt x="3203" y="3037"/>
                  </a:cubicBezTo>
                  <a:cubicBezTo>
                    <a:pt x="3213" y="3047"/>
                    <a:pt x="3221" y="3069"/>
                    <a:pt x="3221" y="3069"/>
                  </a:cubicBezTo>
                  <a:cubicBezTo>
                    <a:pt x="3243" y="3064"/>
                    <a:pt x="3243" y="3064"/>
                    <a:pt x="3243" y="3064"/>
                  </a:cubicBezTo>
                  <a:cubicBezTo>
                    <a:pt x="3229" y="3093"/>
                    <a:pt x="3229" y="3093"/>
                    <a:pt x="3229" y="3093"/>
                  </a:cubicBezTo>
                  <a:cubicBezTo>
                    <a:pt x="3229" y="3093"/>
                    <a:pt x="3260" y="3100"/>
                    <a:pt x="3272" y="3109"/>
                  </a:cubicBezTo>
                  <a:cubicBezTo>
                    <a:pt x="3284" y="3118"/>
                    <a:pt x="3292" y="3154"/>
                    <a:pt x="3294" y="3161"/>
                  </a:cubicBezTo>
                  <a:cubicBezTo>
                    <a:pt x="3296" y="3167"/>
                    <a:pt x="3310" y="3180"/>
                    <a:pt x="3310" y="3180"/>
                  </a:cubicBezTo>
                  <a:cubicBezTo>
                    <a:pt x="3299" y="3192"/>
                    <a:pt x="3299" y="3192"/>
                    <a:pt x="3299" y="3192"/>
                  </a:cubicBezTo>
                  <a:cubicBezTo>
                    <a:pt x="3307" y="3253"/>
                    <a:pt x="3307" y="3253"/>
                    <a:pt x="3307" y="3253"/>
                  </a:cubicBezTo>
                  <a:cubicBezTo>
                    <a:pt x="3296" y="3261"/>
                    <a:pt x="3296" y="3261"/>
                    <a:pt x="3296" y="3261"/>
                  </a:cubicBezTo>
                  <a:cubicBezTo>
                    <a:pt x="3296" y="3261"/>
                    <a:pt x="3302" y="3280"/>
                    <a:pt x="3311" y="3279"/>
                  </a:cubicBezTo>
                  <a:cubicBezTo>
                    <a:pt x="3320" y="3278"/>
                    <a:pt x="3330" y="3270"/>
                    <a:pt x="3330" y="3270"/>
                  </a:cubicBezTo>
                  <a:cubicBezTo>
                    <a:pt x="3330" y="3270"/>
                    <a:pt x="3334" y="3285"/>
                    <a:pt x="3345" y="3280"/>
                  </a:cubicBezTo>
                  <a:cubicBezTo>
                    <a:pt x="3357" y="3276"/>
                    <a:pt x="3368" y="3253"/>
                    <a:pt x="3368" y="3253"/>
                  </a:cubicBezTo>
                  <a:cubicBezTo>
                    <a:pt x="3368" y="3253"/>
                    <a:pt x="3390" y="3249"/>
                    <a:pt x="3402" y="3240"/>
                  </a:cubicBezTo>
                  <a:cubicBezTo>
                    <a:pt x="3414" y="3230"/>
                    <a:pt x="3400" y="3201"/>
                    <a:pt x="3407" y="3195"/>
                  </a:cubicBezTo>
                  <a:cubicBezTo>
                    <a:pt x="3415" y="3189"/>
                    <a:pt x="3430" y="3216"/>
                    <a:pt x="3430" y="3216"/>
                  </a:cubicBezTo>
                  <a:cubicBezTo>
                    <a:pt x="3429" y="3237"/>
                    <a:pt x="3429" y="3237"/>
                    <a:pt x="3429" y="3237"/>
                  </a:cubicBezTo>
                  <a:cubicBezTo>
                    <a:pt x="3429" y="3237"/>
                    <a:pt x="3450" y="3238"/>
                    <a:pt x="3451" y="3255"/>
                  </a:cubicBezTo>
                  <a:cubicBezTo>
                    <a:pt x="3451" y="3272"/>
                    <a:pt x="3458" y="3284"/>
                    <a:pt x="3460" y="3297"/>
                  </a:cubicBezTo>
                  <a:cubicBezTo>
                    <a:pt x="3462" y="3311"/>
                    <a:pt x="3465" y="3344"/>
                    <a:pt x="3465" y="3344"/>
                  </a:cubicBezTo>
                  <a:cubicBezTo>
                    <a:pt x="3465" y="3344"/>
                    <a:pt x="3466" y="3356"/>
                    <a:pt x="3473" y="3365"/>
                  </a:cubicBezTo>
                  <a:cubicBezTo>
                    <a:pt x="3481" y="3374"/>
                    <a:pt x="3484" y="3387"/>
                    <a:pt x="3484" y="3387"/>
                  </a:cubicBezTo>
                  <a:cubicBezTo>
                    <a:pt x="3512" y="3448"/>
                    <a:pt x="3512" y="3448"/>
                    <a:pt x="3512" y="3448"/>
                  </a:cubicBezTo>
                  <a:cubicBezTo>
                    <a:pt x="3522" y="3478"/>
                    <a:pt x="3522" y="3478"/>
                    <a:pt x="3522" y="3478"/>
                  </a:cubicBezTo>
                  <a:cubicBezTo>
                    <a:pt x="3522" y="3478"/>
                    <a:pt x="3508" y="3475"/>
                    <a:pt x="3507" y="3483"/>
                  </a:cubicBezTo>
                  <a:cubicBezTo>
                    <a:pt x="3505" y="3492"/>
                    <a:pt x="3499" y="3517"/>
                    <a:pt x="3499" y="3517"/>
                  </a:cubicBezTo>
                  <a:cubicBezTo>
                    <a:pt x="3528" y="3507"/>
                    <a:pt x="3528" y="3507"/>
                    <a:pt x="3528" y="3507"/>
                  </a:cubicBezTo>
                  <a:cubicBezTo>
                    <a:pt x="3520" y="3544"/>
                    <a:pt x="3520" y="3544"/>
                    <a:pt x="3520" y="3544"/>
                  </a:cubicBezTo>
                  <a:cubicBezTo>
                    <a:pt x="3520" y="3544"/>
                    <a:pt x="3516" y="3556"/>
                    <a:pt x="3517" y="3569"/>
                  </a:cubicBezTo>
                  <a:cubicBezTo>
                    <a:pt x="3518" y="3581"/>
                    <a:pt x="3525" y="3600"/>
                    <a:pt x="3525" y="3600"/>
                  </a:cubicBezTo>
                  <a:cubicBezTo>
                    <a:pt x="3525" y="3600"/>
                    <a:pt x="3513" y="3632"/>
                    <a:pt x="3511" y="3648"/>
                  </a:cubicBezTo>
                  <a:cubicBezTo>
                    <a:pt x="3509" y="3664"/>
                    <a:pt x="3511" y="3709"/>
                    <a:pt x="3511" y="3709"/>
                  </a:cubicBezTo>
                  <a:cubicBezTo>
                    <a:pt x="3511" y="3709"/>
                    <a:pt x="3521" y="3719"/>
                    <a:pt x="3523" y="3709"/>
                  </a:cubicBezTo>
                  <a:cubicBezTo>
                    <a:pt x="3524" y="3699"/>
                    <a:pt x="3524" y="3675"/>
                    <a:pt x="3528" y="3686"/>
                  </a:cubicBezTo>
                  <a:cubicBezTo>
                    <a:pt x="3531" y="3698"/>
                    <a:pt x="3523" y="3698"/>
                    <a:pt x="3537" y="3700"/>
                  </a:cubicBezTo>
                  <a:cubicBezTo>
                    <a:pt x="3551" y="3701"/>
                    <a:pt x="3559" y="3731"/>
                    <a:pt x="3559" y="3731"/>
                  </a:cubicBezTo>
                  <a:cubicBezTo>
                    <a:pt x="3582" y="3751"/>
                    <a:pt x="3582" y="3751"/>
                    <a:pt x="3582" y="3751"/>
                  </a:cubicBezTo>
                  <a:cubicBezTo>
                    <a:pt x="3582" y="3751"/>
                    <a:pt x="3577" y="3762"/>
                    <a:pt x="3586" y="3776"/>
                  </a:cubicBezTo>
                  <a:cubicBezTo>
                    <a:pt x="3592" y="3787"/>
                    <a:pt x="3600" y="3795"/>
                    <a:pt x="3604" y="3799"/>
                  </a:cubicBezTo>
                  <a:cubicBezTo>
                    <a:pt x="3605" y="3799"/>
                    <a:pt x="3605" y="3800"/>
                    <a:pt x="3605" y="3800"/>
                  </a:cubicBezTo>
                  <a:cubicBezTo>
                    <a:pt x="3610" y="3861"/>
                    <a:pt x="3610" y="3861"/>
                    <a:pt x="3610" y="3861"/>
                  </a:cubicBezTo>
                  <a:cubicBezTo>
                    <a:pt x="3610" y="3861"/>
                    <a:pt x="3642" y="3849"/>
                    <a:pt x="3642" y="3869"/>
                  </a:cubicBezTo>
                  <a:cubicBezTo>
                    <a:pt x="3641" y="3889"/>
                    <a:pt x="3632" y="3911"/>
                    <a:pt x="3643" y="3923"/>
                  </a:cubicBezTo>
                  <a:cubicBezTo>
                    <a:pt x="3654" y="3936"/>
                    <a:pt x="3666" y="3923"/>
                    <a:pt x="3666" y="3923"/>
                  </a:cubicBezTo>
                  <a:cubicBezTo>
                    <a:pt x="3666" y="3923"/>
                    <a:pt x="3659" y="3964"/>
                    <a:pt x="3669" y="3973"/>
                  </a:cubicBezTo>
                  <a:cubicBezTo>
                    <a:pt x="3679" y="3982"/>
                    <a:pt x="3718" y="4006"/>
                    <a:pt x="3718" y="4006"/>
                  </a:cubicBezTo>
                  <a:cubicBezTo>
                    <a:pt x="3718" y="4006"/>
                    <a:pt x="3720" y="4026"/>
                    <a:pt x="3725" y="4028"/>
                  </a:cubicBezTo>
                  <a:cubicBezTo>
                    <a:pt x="3730" y="4029"/>
                    <a:pt x="3757" y="4041"/>
                    <a:pt x="3757" y="4041"/>
                  </a:cubicBezTo>
                  <a:cubicBezTo>
                    <a:pt x="3773" y="4063"/>
                    <a:pt x="3773" y="4063"/>
                    <a:pt x="3773" y="4063"/>
                  </a:cubicBezTo>
                  <a:cubicBezTo>
                    <a:pt x="3806" y="4060"/>
                    <a:pt x="3806" y="4060"/>
                    <a:pt x="3806" y="4060"/>
                  </a:cubicBezTo>
                  <a:cubicBezTo>
                    <a:pt x="3806" y="4060"/>
                    <a:pt x="3811" y="4040"/>
                    <a:pt x="3809" y="4022"/>
                  </a:cubicBezTo>
                  <a:cubicBezTo>
                    <a:pt x="3807" y="4005"/>
                    <a:pt x="3777" y="3985"/>
                    <a:pt x="3776" y="3980"/>
                  </a:cubicBezTo>
                  <a:cubicBezTo>
                    <a:pt x="3775" y="3975"/>
                    <a:pt x="3781" y="3963"/>
                    <a:pt x="3774" y="3954"/>
                  </a:cubicBezTo>
                  <a:cubicBezTo>
                    <a:pt x="3766" y="3945"/>
                    <a:pt x="3772" y="3943"/>
                    <a:pt x="3772" y="3930"/>
                  </a:cubicBezTo>
                  <a:cubicBezTo>
                    <a:pt x="3773" y="3918"/>
                    <a:pt x="3776" y="3879"/>
                    <a:pt x="3771" y="3857"/>
                  </a:cubicBezTo>
                  <a:cubicBezTo>
                    <a:pt x="3767" y="3835"/>
                    <a:pt x="3725" y="3820"/>
                    <a:pt x="3719" y="3811"/>
                  </a:cubicBezTo>
                  <a:cubicBezTo>
                    <a:pt x="3717" y="3808"/>
                    <a:pt x="3712" y="3804"/>
                    <a:pt x="3707" y="3801"/>
                  </a:cubicBezTo>
                  <a:cubicBezTo>
                    <a:pt x="3707" y="3801"/>
                    <a:pt x="3707" y="3801"/>
                    <a:pt x="3707" y="3801"/>
                  </a:cubicBezTo>
                  <a:cubicBezTo>
                    <a:pt x="3698" y="3794"/>
                    <a:pt x="3688" y="3788"/>
                    <a:pt x="3688" y="3788"/>
                  </a:cubicBezTo>
                  <a:cubicBezTo>
                    <a:pt x="3688" y="3788"/>
                    <a:pt x="3683" y="3764"/>
                    <a:pt x="3680" y="3754"/>
                  </a:cubicBezTo>
                  <a:cubicBezTo>
                    <a:pt x="3677" y="3744"/>
                    <a:pt x="3650" y="3764"/>
                    <a:pt x="3642" y="3760"/>
                  </a:cubicBezTo>
                  <a:cubicBezTo>
                    <a:pt x="3635" y="3756"/>
                    <a:pt x="3628" y="3719"/>
                    <a:pt x="3623" y="3722"/>
                  </a:cubicBezTo>
                  <a:cubicBezTo>
                    <a:pt x="3618" y="3726"/>
                    <a:pt x="3623" y="3737"/>
                    <a:pt x="3617" y="3738"/>
                  </a:cubicBezTo>
                  <a:cubicBezTo>
                    <a:pt x="3611" y="3739"/>
                    <a:pt x="3596" y="3716"/>
                    <a:pt x="3604" y="3708"/>
                  </a:cubicBezTo>
                  <a:cubicBezTo>
                    <a:pt x="3612" y="3700"/>
                    <a:pt x="3609" y="3715"/>
                    <a:pt x="3617" y="3712"/>
                  </a:cubicBezTo>
                  <a:cubicBezTo>
                    <a:pt x="3625" y="3709"/>
                    <a:pt x="3607" y="3678"/>
                    <a:pt x="3605" y="3672"/>
                  </a:cubicBezTo>
                  <a:cubicBezTo>
                    <a:pt x="3603" y="3666"/>
                    <a:pt x="3592" y="3668"/>
                    <a:pt x="3592" y="3668"/>
                  </a:cubicBezTo>
                  <a:cubicBezTo>
                    <a:pt x="3593" y="3631"/>
                    <a:pt x="3593" y="3631"/>
                    <a:pt x="3593" y="3631"/>
                  </a:cubicBezTo>
                  <a:cubicBezTo>
                    <a:pt x="3558" y="3641"/>
                    <a:pt x="3558" y="3641"/>
                    <a:pt x="3558" y="3641"/>
                  </a:cubicBezTo>
                  <a:cubicBezTo>
                    <a:pt x="3558" y="3641"/>
                    <a:pt x="3554" y="3582"/>
                    <a:pt x="3553" y="3575"/>
                  </a:cubicBezTo>
                  <a:cubicBezTo>
                    <a:pt x="3552" y="3567"/>
                    <a:pt x="3547" y="3557"/>
                    <a:pt x="3547" y="3557"/>
                  </a:cubicBezTo>
                  <a:cubicBezTo>
                    <a:pt x="3547" y="3557"/>
                    <a:pt x="3563" y="3549"/>
                    <a:pt x="3564" y="3531"/>
                  </a:cubicBezTo>
                  <a:cubicBezTo>
                    <a:pt x="3565" y="3512"/>
                    <a:pt x="3565" y="3489"/>
                    <a:pt x="3565" y="3489"/>
                  </a:cubicBezTo>
                  <a:cubicBezTo>
                    <a:pt x="3565" y="3489"/>
                    <a:pt x="3579" y="3482"/>
                    <a:pt x="3580" y="3458"/>
                  </a:cubicBezTo>
                  <a:cubicBezTo>
                    <a:pt x="3581" y="3433"/>
                    <a:pt x="3574" y="3429"/>
                    <a:pt x="3574" y="3429"/>
                  </a:cubicBezTo>
                  <a:cubicBezTo>
                    <a:pt x="3578" y="3407"/>
                    <a:pt x="3578" y="3407"/>
                    <a:pt x="3578" y="3407"/>
                  </a:cubicBezTo>
                  <a:cubicBezTo>
                    <a:pt x="3585" y="3407"/>
                    <a:pt x="3585" y="3407"/>
                    <a:pt x="3585" y="3407"/>
                  </a:cubicBezTo>
                  <a:cubicBezTo>
                    <a:pt x="3585" y="3407"/>
                    <a:pt x="3586" y="3399"/>
                    <a:pt x="3598" y="3400"/>
                  </a:cubicBezTo>
                  <a:cubicBezTo>
                    <a:pt x="3609" y="3400"/>
                    <a:pt x="3628" y="3414"/>
                    <a:pt x="3628" y="3414"/>
                  </a:cubicBezTo>
                  <a:cubicBezTo>
                    <a:pt x="3620" y="3420"/>
                    <a:pt x="3620" y="3420"/>
                    <a:pt x="3620" y="3420"/>
                  </a:cubicBezTo>
                  <a:cubicBezTo>
                    <a:pt x="3620" y="3420"/>
                    <a:pt x="3615" y="3452"/>
                    <a:pt x="3626" y="3452"/>
                  </a:cubicBezTo>
                  <a:cubicBezTo>
                    <a:pt x="3638" y="3453"/>
                    <a:pt x="3674" y="3436"/>
                    <a:pt x="3674" y="3436"/>
                  </a:cubicBezTo>
                  <a:cubicBezTo>
                    <a:pt x="3692" y="3490"/>
                    <a:pt x="3692" y="3490"/>
                    <a:pt x="3692" y="3490"/>
                  </a:cubicBezTo>
                  <a:cubicBezTo>
                    <a:pt x="3692" y="3490"/>
                    <a:pt x="3700" y="3478"/>
                    <a:pt x="3711" y="3483"/>
                  </a:cubicBezTo>
                  <a:cubicBezTo>
                    <a:pt x="3714" y="3484"/>
                    <a:pt x="3717" y="3486"/>
                    <a:pt x="3720" y="3489"/>
                  </a:cubicBezTo>
                  <a:cubicBezTo>
                    <a:pt x="3735" y="3506"/>
                    <a:pt x="3721" y="3518"/>
                    <a:pt x="3721" y="3518"/>
                  </a:cubicBezTo>
                  <a:cubicBezTo>
                    <a:pt x="3721" y="3518"/>
                    <a:pt x="3730" y="3540"/>
                    <a:pt x="3740" y="3541"/>
                  </a:cubicBezTo>
                  <a:cubicBezTo>
                    <a:pt x="3750" y="3541"/>
                    <a:pt x="3753" y="3528"/>
                    <a:pt x="3753" y="3528"/>
                  </a:cubicBezTo>
                  <a:cubicBezTo>
                    <a:pt x="3753" y="3528"/>
                    <a:pt x="3752" y="3552"/>
                    <a:pt x="3762" y="3554"/>
                  </a:cubicBezTo>
                  <a:cubicBezTo>
                    <a:pt x="3773" y="3556"/>
                    <a:pt x="3783" y="3548"/>
                    <a:pt x="3785" y="3558"/>
                  </a:cubicBezTo>
                  <a:cubicBezTo>
                    <a:pt x="3786" y="3562"/>
                    <a:pt x="3789" y="3568"/>
                    <a:pt x="3791" y="3573"/>
                  </a:cubicBezTo>
                  <a:cubicBezTo>
                    <a:pt x="3804" y="3574"/>
                    <a:pt x="3804" y="3574"/>
                    <a:pt x="3804" y="3574"/>
                  </a:cubicBezTo>
                  <a:cubicBezTo>
                    <a:pt x="3803" y="3576"/>
                    <a:pt x="3804" y="3578"/>
                    <a:pt x="3805" y="3580"/>
                  </a:cubicBezTo>
                  <a:cubicBezTo>
                    <a:pt x="3811" y="3588"/>
                    <a:pt x="3834" y="3600"/>
                    <a:pt x="3834" y="3600"/>
                  </a:cubicBezTo>
                  <a:cubicBezTo>
                    <a:pt x="3821" y="3611"/>
                    <a:pt x="3821" y="3611"/>
                    <a:pt x="3821" y="3611"/>
                  </a:cubicBezTo>
                  <a:cubicBezTo>
                    <a:pt x="3821" y="3611"/>
                    <a:pt x="3835" y="3646"/>
                    <a:pt x="3828" y="3652"/>
                  </a:cubicBezTo>
                  <a:cubicBezTo>
                    <a:pt x="3824" y="3655"/>
                    <a:pt x="3821" y="3661"/>
                    <a:pt x="3819" y="3666"/>
                  </a:cubicBezTo>
                  <a:cubicBezTo>
                    <a:pt x="3820" y="3666"/>
                    <a:pt x="3820" y="3666"/>
                    <a:pt x="3820" y="3666"/>
                  </a:cubicBezTo>
                  <a:cubicBezTo>
                    <a:pt x="3829" y="3672"/>
                    <a:pt x="3843" y="3672"/>
                    <a:pt x="3853" y="3660"/>
                  </a:cubicBezTo>
                  <a:cubicBezTo>
                    <a:pt x="3864" y="3649"/>
                    <a:pt x="3877" y="3645"/>
                    <a:pt x="3877" y="3645"/>
                  </a:cubicBezTo>
                  <a:cubicBezTo>
                    <a:pt x="3880" y="3629"/>
                    <a:pt x="3880" y="3629"/>
                    <a:pt x="3880" y="3629"/>
                  </a:cubicBezTo>
                  <a:cubicBezTo>
                    <a:pt x="3880" y="3613"/>
                    <a:pt x="3880" y="3613"/>
                    <a:pt x="3880" y="3613"/>
                  </a:cubicBezTo>
                  <a:cubicBezTo>
                    <a:pt x="3880" y="3613"/>
                    <a:pt x="3905" y="3624"/>
                    <a:pt x="3910" y="3612"/>
                  </a:cubicBezTo>
                  <a:cubicBezTo>
                    <a:pt x="3914" y="3600"/>
                    <a:pt x="3894" y="3588"/>
                    <a:pt x="3898" y="3585"/>
                  </a:cubicBezTo>
                  <a:cubicBezTo>
                    <a:pt x="3902" y="3581"/>
                    <a:pt x="3925" y="3570"/>
                    <a:pt x="3925" y="3570"/>
                  </a:cubicBezTo>
                  <a:cubicBezTo>
                    <a:pt x="3925" y="3570"/>
                    <a:pt x="3936" y="3579"/>
                    <a:pt x="3959" y="3567"/>
                  </a:cubicBezTo>
                  <a:cubicBezTo>
                    <a:pt x="3981" y="3556"/>
                    <a:pt x="4012" y="3533"/>
                    <a:pt x="4016" y="3516"/>
                  </a:cubicBezTo>
                  <a:cubicBezTo>
                    <a:pt x="4019" y="3499"/>
                    <a:pt x="4032" y="3454"/>
                    <a:pt x="4030" y="3444"/>
                  </a:cubicBezTo>
                  <a:cubicBezTo>
                    <a:pt x="4028" y="3434"/>
                    <a:pt x="4010" y="3416"/>
                    <a:pt x="4010" y="3416"/>
                  </a:cubicBezTo>
                  <a:cubicBezTo>
                    <a:pt x="4020" y="3412"/>
                    <a:pt x="4020" y="3412"/>
                    <a:pt x="4020" y="3412"/>
                  </a:cubicBezTo>
                  <a:cubicBezTo>
                    <a:pt x="4020" y="3412"/>
                    <a:pt x="4020" y="3375"/>
                    <a:pt x="4015" y="3362"/>
                  </a:cubicBezTo>
                  <a:cubicBezTo>
                    <a:pt x="4009" y="3348"/>
                    <a:pt x="3993" y="3325"/>
                    <a:pt x="3993" y="3325"/>
                  </a:cubicBezTo>
                  <a:cubicBezTo>
                    <a:pt x="3993" y="3325"/>
                    <a:pt x="4004" y="3311"/>
                    <a:pt x="3988" y="3295"/>
                  </a:cubicBezTo>
                  <a:cubicBezTo>
                    <a:pt x="3972" y="3280"/>
                    <a:pt x="3927" y="3238"/>
                    <a:pt x="3913" y="3231"/>
                  </a:cubicBezTo>
                  <a:cubicBezTo>
                    <a:pt x="3899" y="3225"/>
                    <a:pt x="3884" y="3217"/>
                    <a:pt x="3881" y="3209"/>
                  </a:cubicBezTo>
                  <a:cubicBezTo>
                    <a:pt x="3877" y="3202"/>
                    <a:pt x="3885" y="3196"/>
                    <a:pt x="3879" y="3186"/>
                  </a:cubicBezTo>
                  <a:cubicBezTo>
                    <a:pt x="3873" y="3176"/>
                    <a:pt x="3825" y="3135"/>
                    <a:pt x="3818" y="3112"/>
                  </a:cubicBezTo>
                  <a:cubicBezTo>
                    <a:pt x="3812" y="3088"/>
                    <a:pt x="3807" y="3062"/>
                    <a:pt x="3813" y="3057"/>
                  </a:cubicBezTo>
                  <a:cubicBezTo>
                    <a:pt x="3820" y="3053"/>
                    <a:pt x="3822" y="3037"/>
                    <a:pt x="3822" y="3037"/>
                  </a:cubicBezTo>
                  <a:cubicBezTo>
                    <a:pt x="3822" y="3037"/>
                    <a:pt x="3840" y="3024"/>
                    <a:pt x="3845" y="3020"/>
                  </a:cubicBezTo>
                  <a:cubicBezTo>
                    <a:pt x="3851" y="3017"/>
                    <a:pt x="3854" y="3006"/>
                    <a:pt x="3854" y="3006"/>
                  </a:cubicBezTo>
                  <a:cubicBezTo>
                    <a:pt x="3854" y="3006"/>
                    <a:pt x="3873" y="3009"/>
                    <a:pt x="3879" y="3004"/>
                  </a:cubicBezTo>
                  <a:cubicBezTo>
                    <a:pt x="3884" y="2999"/>
                    <a:pt x="3884" y="2977"/>
                    <a:pt x="3884" y="2977"/>
                  </a:cubicBezTo>
                  <a:cubicBezTo>
                    <a:pt x="3891" y="2972"/>
                    <a:pt x="3891" y="2972"/>
                    <a:pt x="3891" y="2972"/>
                  </a:cubicBezTo>
                  <a:cubicBezTo>
                    <a:pt x="3920" y="2953"/>
                    <a:pt x="3920" y="2953"/>
                    <a:pt x="3920" y="2953"/>
                  </a:cubicBezTo>
                  <a:cubicBezTo>
                    <a:pt x="3932" y="2961"/>
                    <a:pt x="3932" y="2961"/>
                    <a:pt x="3932" y="2961"/>
                  </a:cubicBezTo>
                  <a:cubicBezTo>
                    <a:pt x="3932" y="2961"/>
                    <a:pt x="3977" y="2961"/>
                    <a:pt x="3983" y="2972"/>
                  </a:cubicBezTo>
                  <a:cubicBezTo>
                    <a:pt x="3988" y="2984"/>
                    <a:pt x="3973" y="3006"/>
                    <a:pt x="3980" y="3017"/>
                  </a:cubicBezTo>
                  <a:cubicBezTo>
                    <a:pt x="3988" y="3028"/>
                    <a:pt x="4009" y="3043"/>
                    <a:pt x="4009" y="3043"/>
                  </a:cubicBezTo>
                  <a:cubicBezTo>
                    <a:pt x="4023" y="3041"/>
                    <a:pt x="4023" y="3041"/>
                    <a:pt x="4023" y="3041"/>
                  </a:cubicBezTo>
                  <a:cubicBezTo>
                    <a:pt x="4023" y="3029"/>
                    <a:pt x="4023" y="3029"/>
                    <a:pt x="4023" y="3029"/>
                  </a:cubicBezTo>
                  <a:cubicBezTo>
                    <a:pt x="4023" y="3029"/>
                    <a:pt x="4014" y="2997"/>
                    <a:pt x="4026" y="2980"/>
                  </a:cubicBezTo>
                  <a:cubicBezTo>
                    <a:pt x="4038" y="2964"/>
                    <a:pt x="4065" y="2966"/>
                    <a:pt x="4079" y="2963"/>
                  </a:cubicBezTo>
                  <a:cubicBezTo>
                    <a:pt x="4092" y="2960"/>
                    <a:pt x="4135" y="2951"/>
                    <a:pt x="4135" y="2941"/>
                  </a:cubicBezTo>
                  <a:cubicBezTo>
                    <a:pt x="4136" y="2931"/>
                    <a:pt x="4136" y="2901"/>
                    <a:pt x="4145" y="2899"/>
                  </a:cubicBezTo>
                  <a:cubicBezTo>
                    <a:pt x="4154" y="2897"/>
                    <a:pt x="4161" y="2931"/>
                    <a:pt x="4170" y="2927"/>
                  </a:cubicBezTo>
                  <a:cubicBezTo>
                    <a:pt x="4180" y="2924"/>
                    <a:pt x="4200" y="2893"/>
                    <a:pt x="4200" y="2893"/>
                  </a:cubicBezTo>
                  <a:cubicBezTo>
                    <a:pt x="4211" y="2903"/>
                    <a:pt x="4211" y="2903"/>
                    <a:pt x="4211" y="2903"/>
                  </a:cubicBezTo>
                  <a:cubicBezTo>
                    <a:pt x="4233" y="2896"/>
                    <a:pt x="4233" y="2896"/>
                    <a:pt x="4233" y="2896"/>
                  </a:cubicBezTo>
                  <a:cubicBezTo>
                    <a:pt x="4233" y="2896"/>
                    <a:pt x="4258" y="2903"/>
                    <a:pt x="4270" y="2896"/>
                  </a:cubicBezTo>
                  <a:cubicBezTo>
                    <a:pt x="4283" y="2889"/>
                    <a:pt x="4288" y="2886"/>
                    <a:pt x="4295" y="2881"/>
                  </a:cubicBezTo>
                  <a:cubicBezTo>
                    <a:pt x="4301" y="2876"/>
                    <a:pt x="4330" y="2851"/>
                    <a:pt x="4335" y="2841"/>
                  </a:cubicBezTo>
                  <a:cubicBezTo>
                    <a:pt x="4339" y="2831"/>
                    <a:pt x="4326" y="2811"/>
                    <a:pt x="4326" y="2811"/>
                  </a:cubicBezTo>
                  <a:cubicBezTo>
                    <a:pt x="4339" y="2811"/>
                    <a:pt x="4339" y="2811"/>
                    <a:pt x="4339" y="2811"/>
                  </a:cubicBezTo>
                  <a:cubicBezTo>
                    <a:pt x="4345" y="2791"/>
                    <a:pt x="4345" y="2791"/>
                    <a:pt x="4345" y="2791"/>
                  </a:cubicBezTo>
                  <a:cubicBezTo>
                    <a:pt x="4360" y="2792"/>
                    <a:pt x="4360" y="2792"/>
                    <a:pt x="4360" y="2792"/>
                  </a:cubicBezTo>
                  <a:cubicBezTo>
                    <a:pt x="4367" y="2767"/>
                    <a:pt x="4367" y="2767"/>
                    <a:pt x="4367" y="2767"/>
                  </a:cubicBezTo>
                  <a:cubicBezTo>
                    <a:pt x="4375" y="2767"/>
                    <a:pt x="4375" y="2767"/>
                    <a:pt x="4375" y="2767"/>
                  </a:cubicBezTo>
                  <a:cubicBezTo>
                    <a:pt x="4379" y="2740"/>
                    <a:pt x="4379" y="2740"/>
                    <a:pt x="4379" y="2740"/>
                  </a:cubicBezTo>
                  <a:cubicBezTo>
                    <a:pt x="4379" y="2740"/>
                    <a:pt x="4393" y="2745"/>
                    <a:pt x="4393" y="2723"/>
                  </a:cubicBezTo>
                  <a:cubicBezTo>
                    <a:pt x="4393" y="2701"/>
                    <a:pt x="4380" y="2704"/>
                    <a:pt x="4385" y="2696"/>
                  </a:cubicBezTo>
                  <a:cubicBezTo>
                    <a:pt x="4389" y="2687"/>
                    <a:pt x="4408" y="2690"/>
                    <a:pt x="4408" y="2672"/>
                  </a:cubicBezTo>
                  <a:cubicBezTo>
                    <a:pt x="4409" y="2655"/>
                    <a:pt x="4397" y="2655"/>
                    <a:pt x="4398" y="2648"/>
                  </a:cubicBezTo>
                  <a:cubicBezTo>
                    <a:pt x="4398" y="2640"/>
                    <a:pt x="4409" y="2637"/>
                    <a:pt x="4409" y="2637"/>
                  </a:cubicBezTo>
                  <a:cubicBezTo>
                    <a:pt x="4410" y="2611"/>
                    <a:pt x="4410" y="2611"/>
                    <a:pt x="4410" y="2611"/>
                  </a:cubicBezTo>
                  <a:cubicBezTo>
                    <a:pt x="4410" y="2611"/>
                    <a:pt x="4437" y="2603"/>
                    <a:pt x="4444" y="2587"/>
                  </a:cubicBezTo>
                  <a:cubicBezTo>
                    <a:pt x="4451" y="2571"/>
                    <a:pt x="4434" y="2570"/>
                    <a:pt x="4434" y="2570"/>
                  </a:cubicBezTo>
                  <a:cubicBezTo>
                    <a:pt x="4434" y="2570"/>
                    <a:pt x="4466" y="2565"/>
                    <a:pt x="4466" y="2556"/>
                  </a:cubicBezTo>
                  <a:cubicBezTo>
                    <a:pt x="4467" y="2547"/>
                    <a:pt x="4448" y="2542"/>
                    <a:pt x="4448" y="2542"/>
                  </a:cubicBezTo>
                  <a:cubicBezTo>
                    <a:pt x="4448" y="2542"/>
                    <a:pt x="4486" y="2508"/>
                    <a:pt x="4469" y="2498"/>
                  </a:cubicBezTo>
                  <a:cubicBezTo>
                    <a:pt x="4452" y="2489"/>
                    <a:pt x="4372" y="2511"/>
                    <a:pt x="4372" y="2511"/>
                  </a:cubicBezTo>
                  <a:cubicBezTo>
                    <a:pt x="4362" y="2500"/>
                    <a:pt x="4362" y="2500"/>
                    <a:pt x="4362" y="2500"/>
                  </a:cubicBezTo>
                  <a:cubicBezTo>
                    <a:pt x="4387" y="2499"/>
                    <a:pt x="4387" y="2499"/>
                    <a:pt x="4387" y="2499"/>
                  </a:cubicBezTo>
                  <a:cubicBezTo>
                    <a:pt x="4387" y="2499"/>
                    <a:pt x="4387" y="2484"/>
                    <a:pt x="4397" y="2480"/>
                  </a:cubicBezTo>
                  <a:cubicBezTo>
                    <a:pt x="4407" y="2476"/>
                    <a:pt x="4426" y="2474"/>
                    <a:pt x="4426" y="2474"/>
                  </a:cubicBezTo>
                  <a:cubicBezTo>
                    <a:pt x="4426" y="2474"/>
                    <a:pt x="4413" y="2450"/>
                    <a:pt x="4409" y="2449"/>
                  </a:cubicBezTo>
                  <a:cubicBezTo>
                    <a:pt x="4405" y="2448"/>
                    <a:pt x="4382" y="2442"/>
                    <a:pt x="4382" y="2442"/>
                  </a:cubicBezTo>
                  <a:cubicBezTo>
                    <a:pt x="4374" y="2431"/>
                    <a:pt x="4374" y="2431"/>
                    <a:pt x="4374" y="2431"/>
                  </a:cubicBezTo>
                  <a:cubicBezTo>
                    <a:pt x="4365" y="2432"/>
                    <a:pt x="4365" y="2432"/>
                    <a:pt x="4365" y="2432"/>
                  </a:cubicBezTo>
                  <a:cubicBezTo>
                    <a:pt x="4365" y="2432"/>
                    <a:pt x="4356" y="2420"/>
                    <a:pt x="4349" y="2419"/>
                  </a:cubicBezTo>
                  <a:cubicBezTo>
                    <a:pt x="4342" y="2418"/>
                    <a:pt x="4324" y="2424"/>
                    <a:pt x="4324" y="2424"/>
                  </a:cubicBezTo>
                  <a:cubicBezTo>
                    <a:pt x="4301" y="2393"/>
                    <a:pt x="4301" y="2393"/>
                    <a:pt x="4301" y="2393"/>
                  </a:cubicBezTo>
                  <a:cubicBezTo>
                    <a:pt x="4301" y="2393"/>
                    <a:pt x="4322" y="2414"/>
                    <a:pt x="4328" y="2412"/>
                  </a:cubicBezTo>
                  <a:cubicBezTo>
                    <a:pt x="4334" y="2410"/>
                    <a:pt x="4341" y="2406"/>
                    <a:pt x="4341" y="2406"/>
                  </a:cubicBezTo>
                  <a:cubicBezTo>
                    <a:pt x="4360" y="2411"/>
                    <a:pt x="4360" y="2411"/>
                    <a:pt x="4360" y="2411"/>
                  </a:cubicBezTo>
                  <a:cubicBezTo>
                    <a:pt x="4370" y="2422"/>
                    <a:pt x="4370" y="2422"/>
                    <a:pt x="4370" y="2422"/>
                  </a:cubicBezTo>
                  <a:cubicBezTo>
                    <a:pt x="4379" y="2418"/>
                    <a:pt x="4379" y="2418"/>
                    <a:pt x="4379" y="2418"/>
                  </a:cubicBezTo>
                  <a:cubicBezTo>
                    <a:pt x="4410" y="2428"/>
                    <a:pt x="4410" y="2428"/>
                    <a:pt x="4410" y="2428"/>
                  </a:cubicBezTo>
                  <a:cubicBezTo>
                    <a:pt x="4397" y="2411"/>
                    <a:pt x="4397" y="2411"/>
                    <a:pt x="4397" y="2411"/>
                  </a:cubicBezTo>
                  <a:cubicBezTo>
                    <a:pt x="4386" y="2409"/>
                    <a:pt x="4386" y="2409"/>
                    <a:pt x="4386" y="2409"/>
                  </a:cubicBezTo>
                  <a:cubicBezTo>
                    <a:pt x="4386" y="2409"/>
                    <a:pt x="4385" y="2387"/>
                    <a:pt x="4377" y="2386"/>
                  </a:cubicBezTo>
                  <a:cubicBezTo>
                    <a:pt x="4369" y="2385"/>
                    <a:pt x="4357" y="2382"/>
                    <a:pt x="4352" y="2378"/>
                  </a:cubicBezTo>
                  <a:cubicBezTo>
                    <a:pt x="4347" y="2374"/>
                    <a:pt x="4345" y="2355"/>
                    <a:pt x="4345" y="2355"/>
                  </a:cubicBezTo>
                  <a:cubicBezTo>
                    <a:pt x="4291" y="2289"/>
                    <a:pt x="4291" y="2289"/>
                    <a:pt x="4291" y="2289"/>
                  </a:cubicBezTo>
                  <a:cubicBezTo>
                    <a:pt x="4269" y="2283"/>
                    <a:pt x="4269" y="2283"/>
                    <a:pt x="4269" y="2283"/>
                  </a:cubicBezTo>
                  <a:cubicBezTo>
                    <a:pt x="4246" y="2265"/>
                    <a:pt x="4246" y="2265"/>
                    <a:pt x="4246" y="2265"/>
                  </a:cubicBezTo>
                  <a:cubicBezTo>
                    <a:pt x="4231" y="2267"/>
                    <a:pt x="4231" y="2267"/>
                    <a:pt x="4231" y="2267"/>
                  </a:cubicBezTo>
                  <a:cubicBezTo>
                    <a:pt x="4231" y="2267"/>
                    <a:pt x="4218" y="2242"/>
                    <a:pt x="4224" y="2238"/>
                  </a:cubicBezTo>
                  <a:cubicBezTo>
                    <a:pt x="4230" y="2234"/>
                    <a:pt x="4248" y="2222"/>
                    <a:pt x="4248" y="2213"/>
                  </a:cubicBezTo>
                  <a:cubicBezTo>
                    <a:pt x="4248" y="2204"/>
                    <a:pt x="4241" y="2186"/>
                    <a:pt x="4241" y="2186"/>
                  </a:cubicBezTo>
                  <a:cubicBezTo>
                    <a:pt x="4241" y="2186"/>
                    <a:pt x="4258" y="2203"/>
                    <a:pt x="4266" y="2197"/>
                  </a:cubicBezTo>
                  <a:cubicBezTo>
                    <a:pt x="4274" y="2191"/>
                    <a:pt x="4265" y="2164"/>
                    <a:pt x="4265" y="2164"/>
                  </a:cubicBezTo>
                  <a:cubicBezTo>
                    <a:pt x="4280" y="2165"/>
                    <a:pt x="4280" y="2165"/>
                    <a:pt x="4280" y="2165"/>
                  </a:cubicBezTo>
                  <a:cubicBezTo>
                    <a:pt x="4305" y="2146"/>
                    <a:pt x="4305" y="2146"/>
                    <a:pt x="4305" y="2146"/>
                  </a:cubicBezTo>
                  <a:cubicBezTo>
                    <a:pt x="4305" y="2146"/>
                    <a:pt x="4325" y="2152"/>
                    <a:pt x="4330" y="2151"/>
                  </a:cubicBezTo>
                  <a:cubicBezTo>
                    <a:pt x="4335" y="2150"/>
                    <a:pt x="4326" y="2136"/>
                    <a:pt x="4326" y="2136"/>
                  </a:cubicBezTo>
                  <a:cubicBezTo>
                    <a:pt x="4330" y="2120"/>
                    <a:pt x="4330" y="2120"/>
                    <a:pt x="4330" y="2120"/>
                  </a:cubicBezTo>
                  <a:cubicBezTo>
                    <a:pt x="4308" y="2120"/>
                    <a:pt x="4308" y="2120"/>
                    <a:pt x="4308" y="2120"/>
                  </a:cubicBezTo>
                  <a:cubicBezTo>
                    <a:pt x="4300" y="2113"/>
                    <a:pt x="4300" y="2113"/>
                    <a:pt x="4300" y="2113"/>
                  </a:cubicBezTo>
                  <a:cubicBezTo>
                    <a:pt x="4295" y="2121"/>
                    <a:pt x="4295" y="2121"/>
                    <a:pt x="4295" y="2121"/>
                  </a:cubicBezTo>
                  <a:cubicBezTo>
                    <a:pt x="4274" y="2118"/>
                    <a:pt x="4274" y="2118"/>
                    <a:pt x="4274" y="2118"/>
                  </a:cubicBezTo>
                  <a:cubicBezTo>
                    <a:pt x="4274" y="2118"/>
                    <a:pt x="4258" y="2100"/>
                    <a:pt x="4245" y="2100"/>
                  </a:cubicBezTo>
                  <a:cubicBezTo>
                    <a:pt x="4232" y="2100"/>
                    <a:pt x="4214" y="2123"/>
                    <a:pt x="4213" y="2128"/>
                  </a:cubicBezTo>
                  <a:cubicBezTo>
                    <a:pt x="4212" y="2133"/>
                    <a:pt x="4208" y="2142"/>
                    <a:pt x="4198" y="2140"/>
                  </a:cubicBezTo>
                  <a:cubicBezTo>
                    <a:pt x="4188" y="2138"/>
                    <a:pt x="4166" y="2132"/>
                    <a:pt x="4164" y="2118"/>
                  </a:cubicBezTo>
                  <a:cubicBezTo>
                    <a:pt x="4162" y="2104"/>
                    <a:pt x="4154" y="2087"/>
                    <a:pt x="4148" y="2083"/>
                  </a:cubicBezTo>
                  <a:cubicBezTo>
                    <a:pt x="4142" y="2079"/>
                    <a:pt x="4138" y="2086"/>
                    <a:pt x="4138" y="2086"/>
                  </a:cubicBezTo>
                  <a:cubicBezTo>
                    <a:pt x="4138" y="2095"/>
                    <a:pt x="4138" y="2095"/>
                    <a:pt x="4138" y="2095"/>
                  </a:cubicBezTo>
                  <a:cubicBezTo>
                    <a:pt x="4130" y="2083"/>
                    <a:pt x="4130" y="2083"/>
                    <a:pt x="4130" y="2083"/>
                  </a:cubicBezTo>
                  <a:cubicBezTo>
                    <a:pt x="4130" y="2083"/>
                    <a:pt x="4102" y="2086"/>
                    <a:pt x="4093" y="2077"/>
                  </a:cubicBezTo>
                  <a:cubicBezTo>
                    <a:pt x="4084" y="2068"/>
                    <a:pt x="4073" y="2049"/>
                    <a:pt x="4076" y="2043"/>
                  </a:cubicBezTo>
                  <a:cubicBezTo>
                    <a:pt x="4079" y="2037"/>
                    <a:pt x="4078" y="2027"/>
                    <a:pt x="4078" y="2027"/>
                  </a:cubicBezTo>
                  <a:cubicBezTo>
                    <a:pt x="4089" y="2026"/>
                    <a:pt x="4089" y="2026"/>
                    <a:pt x="4089" y="2026"/>
                  </a:cubicBezTo>
                  <a:cubicBezTo>
                    <a:pt x="4089" y="2026"/>
                    <a:pt x="4095" y="2035"/>
                    <a:pt x="4099" y="2034"/>
                  </a:cubicBezTo>
                  <a:cubicBezTo>
                    <a:pt x="4103" y="2033"/>
                    <a:pt x="4109" y="2025"/>
                    <a:pt x="4109" y="2025"/>
                  </a:cubicBezTo>
                  <a:cubicBezTo>
                    <a:pt x="4109" y="2025"/>
                    <a:pt x="4122" y="2033"/>
                    <a:pt x="4131" y="2025"/>
                  </a:cubicBezTo>
                  <a:cubicBezTo>
                    <a:pt x="4140" y="2017"/>
                    <a:pt x="4132" y="2009"/>
                    <a:pt x="4132" y="2009"/>
                  </a:cubicBezTo>
                  <a:cubicBezTo>
                    <a:pt x="4132" y="2009"/>
                    <a:pt x="4131" y="1985"/>
                    <a:pt x="4137" y="1981"/>
                  </a:cubicBezTo>
                  <a:cubicBezTo>
                    <a:pt x="4143" y="1977"/>
                    <a:pt x="4162" y="1985"/>
                    <a:pt x="4166" y="1974"/>
                  </a:cubicBezTo>
                  <a:cubicBezTo>
                    <a:pt x="4170" y="1963"/>
                    <a:pt x="4171" y="1950"/>
                    <a:pt x="4171" y="1950"/>
                  </a:cubicBezTo>
                  <a:cubicBezTo>
                    <a:pt x="4183" y="1943"/>
                    <a:pt x="4183" y="1943"/>
                    <a:pt x="4183" y="1943"/>
                  </a:cubicBezTo>
                  <a:cubicBezTo>
                    <a:pt x="4177" y="1935"/>
                    <a:pt x="4177" y="1935"/>
                    <a:pt x="4177" y="1935"/>
                  </a:cubicBezTo>
                  <a:cubicBezTo>
                    <a:pt x="4202" y="1942"/>
                    <a:pt x="4202" y="1942"/>
                    <a:pt x="4202" y="1942"/>
                  </a:cubicBezTo>
                  <a:cubicBezTo>
                    <a:pt x="4213" y="1932"/>
                    <a:pt x="4213" y="1932"/>
                    <a:pt x="4213" y="1932"/>
                  </a:cubicBezTo>
                  <a:cubicBezTo>
                    <a:pt x="4213" y="1932"/>
                    <a:pt x="4244" y="1955"/>
                    <a:pt x="4242" y="1969"/>
                  </a:cubicBezTo>
                  <a:cubicBezTo>
                    <a:pt x="4240" y="1983"/>
                    <a:pt x="4222" y="1986"/>
                    <a:pt x="4221" y="1995"/>
                  </a:cubicBezTo>
                  <a:cubicBezTo>
                    <a:pt x="4220" y="2004"/>
                    <a:pt x="4225" y="2019"/>
                    <a:pt x="4232" y="2019"/>
                  </a:cubicBezTo>
                  <a:cubicBezTo>
                    <a:pt x="4239" y="2019"/>
                    <a:pt x="4248" y="2016"/>
                    <a:pt x="4248" y="2016"/>
                  </a:cubicBezTo>
                  <a:cubicBezTo>
                    <a:pt x="4243" y="2034"/>
                    <a:pt x="4243" y="2034"/>
                    <a:pt x="4243" y="2034"/>
                  </a:cubicBezTo>
                  <a:cubicBezTo>
                    <a:pt x="4243" y="2034"/>
                    <a:pt x="4224" y="2051"/>
                    <a:pt x="4233" y="2053"/>
                  </a:cubicBezTo>
                  <a:cubicBezTo>
                    <a:pt x="4242" y="2055"/>
                    <a:pt x="4256" y="2041"/>
                    <a:pt x="4256" y="2041"/>
                  </a:cubicBezTo>
                  <a:cubicBezTo>
                    <a:pt x="4256" y="2041"/>
                    <a:pt x="4260" y="2042"/>
                    <a:pt x="4265" y="2037"/>
                  </a:cubicBezTo>
                  <a:cubicBezTo>
                    <a:pt x="4270" y="2032"/>
                    <a:pt x="4269" y="2017"/>
                    <a:pt x="4269" y="2017"/>
                  </a:cubicBezTo>
                  <a:cubicBezTo>
                    <a:pt x="4269" y="2017"/>
                    <a:pt x="4310" y="1996"/>
                    <a:pt x="4314" y="1993"/>
                  </a:cubicBezTo>
                  <a:cubicBezTo>
                    <a:pt x="4318" y="1990"/>
                    <a:pt x="4339" y="1992"/>
                    <a:pt x="4339" y="1992"/>
                  </a:cubicBezTo>
                  <a:cubicBezTo>
                    <a:pt x="4347" y="1979"/>
                    <a:pt x="4347" y="1979"/>
                    <a:pt x="4347" y="1979"/>
                  </a:cubicBezTo>
                  <a:cubicBezTo>
                    <a:pt x="4353" y="1993"/>
                    <a:pt x="4353" y="1993"/>
                    <a:pt x="4353" y="1993"/>
                  </a:cubicBezTo>
                  <a:cubicBezTo>
                    <a:pt x="4365" y="2007"/>
                    <a:pt x="4365" y="2007"/>
                    <a:pt x="4365" y="2007"/>
                  </a:cubicBezTo>
                  <a:cubicBezTo>
                    <a:pt x="4372" y="1995"/>
                    <a:pt x="4372" y="1995"/>
                    <a:pt x="4372" y="1995"/>
                  </a:cubicBezTo>
                  <a:cubicBezTo>
                    <a:pt x="4372" y="1995"/>
                    <a:pt x="4381" y="2008"/>
                    <a:pt x="4386" y="2008"/>
                  </a:cubicBezTo>
                  <a:cubicBezTo>
                    <a:pt x="4391" y="2008"/>
                    <a:pt x="4399" y="2002"/>
                    <a:pt x="4403" y="2009"/>
                  </a:cubicBezTo>
                  <a:cubicBezTo>
                    <a:pt x="4407" y="2016"/>
                    <a:pt x="4407" y="2050"/>
                    <a:pt x="4407" y="2050"/>
                  </a:cubicBezTo>
                  <a:cubicBezTo>
                    <a:pt x="4432" y="2050"/>
                    <a:pt x="4432" y="2050"/>
                    <a:pt x="4432" y="2050"/>
                  </a:cubicBezTo>
                  <a:cubicBezTo>
                    <a:pt x="4435" y="2060"/>
                    <a:pt x="4435" y="2060"/>
                    <a:pt x="4435" y="2060"/>
                  </a:cubicBezTo>
                  <a:cubicBezTo>
                    <a:pt x="4435" y="2060"/>
                    <a:pt x="4412" y="2048"/>
                    <a:pt x="4408" y="2061"/>
                  </a:cubicBezTo>
                  <a:cubicBezTo>
                    <a:pt x="4404" y="2074"/>
                    <a:pt x="4419" y="2090"/>
                    <a:pt x="4419" y="2090"/>
                  </a:cubicBezTo>
                  <a:cubicBezTo>
                    <a:pt x="4426" y="2101"/>
                    <a:pt x="4426" y="2101"/>
                    <a:pt x="4426" y="2101"/>
                  </a:cubicBezTo>
                  <a:cubicBezTo>
                    <a:pt x="4445" y="2093"/>
                    <a:pt x="4445" y="2093"/>
                    <a:pt x="4445" y="2093"/>
                  </a:cubicBezTo>
                  <a:cubicBezTo>
                    <a:pt x="4445" y="2093"/>
                    <a:pt x="4465" y="2107"/>
                    <a:pt x="4474" y="2106"/>
                  </a:cubicBezTo>
                  <a:cubicBezTo>
                    <a:pt x="4483" y="2105"/>
                    <a:pt x="4492" y="2102"/>
                    <a:pt x="4492" y="2102"/>
                  </a:cubicBezTo>
                  <a:cubicBezTo>
                    <a:pt x="4492" y="2102"/>
                    <a:pt x="4493" y="2113"/>
                    <a:pt x="4500" y="2119"/>
                  </a:cubicBezTo>
                  <a:cubicBezTo>
                    <a:pt x="4507" y="2125"/>
                    <a:pt x="4522" y="2127"/>
                    <a:pt x="4522" y="2127"/>
                  </a:cubicBezTo>
                  <a:cubicBezTo>
                    <a:pt x="4533" y="2152"/>
                    <a:pt x="4533" y="2152"/>
                    <a:pt x="4533" y="2152"/>
                  </a:cubicBezTo>
                  <a:cubicBezTo>
                    <a:pt x="4533" y="2152"/>
                    <a:pt x="4499" y="2138"/>
                    <a:pt x="4498" y="2145"/>
                  </a:cubicBezTo>
                  <a:cubicBezTo>
                    <a:pt x="4497" y="2152"/>
                    <a:pt x="4519" y="2165"/>
                    <a:pt x="4519" y="2165"/>
                  </a:cubicBezTo>
                  <a:cubicBezTo>
                    <a:pt x="4529" y="2193"/>
                    <a:pt x="4529" y="2193"/>
                    <a:pt x="4529" y="2193"/>
                  </a:cubicBezTo>
                  <a:cubicBezTo>
                    <a:pt x="4552" y="2197"/>
                    <a:pt x="4552" y="2197"/>
                    <a:pt x="4552" y="2197"/>
                  </a:cubicBezTo>
                  <a:cubicBezTo>
                    <a:pt x="4552" y="2216"/>
                    <a:pt x="4552" y="2216"/>
                    <a:pt x="4552" y="2216"/>
                  </a:cubicBezTo>
                  <a:cubicBezTo>
                    <a:pt x="4552" y="2216"/>
                    <a:pt x="4541" y="2224"/>
                    <a:pt x="4546" y="2243"/>
                  </a:cubicBezTo>
                  <a:cubicBezTo>
                    <a:pt x="4551" y="2262"/>
                    <a:pt x="4566" y="2262"/>
                    <a:pt x="4566" y="2262"/>
                  </a:cubicBezTo>
                  <a:cubicBezTo>
                    <a:pt x="4566" y="2262"/>
                    <a:pt x="4553" y="2288"/>
                    <a:pt x="4572" y="2285"/>
                  </a:cubicBezTo>
                  <a:cubicBezTo>
                    <a:pt x="4591" y="2282"/>
                    <a:pt x="4592" y="2266"/>
                    <a:pt x="4592" y="2266"/>
                  </a:cubicBezTo>
                  <a:cubicBezTo>
                    <a:pt x="4625" y="2251"/>
                    <a:pt x="4625" y="2251"/>
                    <a:pt x="4625" y="2251"/>
                  </a:cubicBezTo>
                  <a:cubicBezTo>
                    <a:pt x="4642" y="2256"/>
                    <a:pt x="4642" y="2256"/>
                    <a:pt x="4642" y="2256"/>
                  </a:cubicBezTo>
                  <a:cubicBezTo>
                    <a:pt x="4647" y="2244"/>
                    <a:pt x="4647" y="2244"/>
                    <a:pt x="4647" y="2244"/>
                  </a:cubicBezTo>
                  <a:cubicBezTo>
                    <a:pt x="4647" y="2244"/>
                    <a:pt x="4683" y="2247"/>
                    <a:pt x="4677" y="2228"/>
                  </a:cubicBezTo>
                  <a:cubicBezTo>
                    <a:pt x="4671" y="2209"/>
                    <a:pt x="4658" y="2195"/>
                    <a:pt x="4658" y="2195"/>
                  </a:cubicBezTo>
                  <a:cubicBezTo>
                    <a:pt x="4658" y="2195"/>
                    <a:pt x="4663" y="2178"/>
                    <a:pt x="4654" y="2164"/>
                  </a:cubicBezTo>
                  <a:cubicBezTo>
                    <a:pt x="4645" y="2150"/>
                    <a:pt x="4603" y="2113"/>
                    <a:pt x="4603" y="2113"/>
                  </a:cubicBezTo>
                  <a:cubicBezTo>
                    <a:pt x="4590" y="2108"/>
                    <a:pt x="4590" y="2108"/>
                    <a:pt x="4590" y="2108"/>
                  </a:cubicBezTo>
                  <a:cubicBezTo>
                    <a:pt x="4590" y="2108"/>
                    <a:pt x="4586" y="2097"/>
                    <a:pt x="4574" y="2084"/>
                  </a:cubicBezTo>
                  <a:cubicBezTo>
                    <a:pt x="4568" y="2077"/>
                    <a:pt x="4561" y="2069"/>
                    <a:pt x="4556" y="2063"/>
                  </a:cubicBezTo>
                  <a:cubicBezTo>
                    <a:pt x="4551" y="2056"/>
                    <a:pt x="4547" y="2051"/>
                    <a:pt x="4547" y="2051"/>
                  </a:cubicBezTo>
                  <a:cubicBezTo>
                    <a:pt x="4516" y="2034"/>
                    <a:pt x="4516" y="2034"/>
                    <a:pt x="4516" y="2034"/>
                  </a:cubicBezTo>
                  <a:cubicBezTo>
                    <a:pt x="4516" y="2034"/>
                    <a:pt x="4494" y="2042"/>
                    <a:pt x="4501" y="2029"/>
                  </a:cubicBezTo>
                  <a:cubicBezTo>
                    <a:pt x="4508" y="2016"/>
                    <a:pt x="4508" y="2016"/>
                    <a:pt x="4508" y="2016"/>
                  </a:cubicBezTo>
                  <a:cubicBezTo>
                    <a:pt x="4508" y="2016"/>
                    <a:pt x="4483" y="2005"/>
                    <a:pt x="4493" y="1994"/>
                  </a:cubicBezTo>
                  <a:cubicBezTo>
                    <a:pt x="4503" y="1983"/>
                    <a:pt x="4524" y="1987"/>
                    <a:pt x="4529" y="1973"/>
                  </a:cubicBezTo>
                  <a:cubicBezTo>
                    <a:pt x="4534" y="1959"/>
                    <a:pt x="4539" y="1944"/>
                    <a:pt x="4539" y="1944"/>
                  </a:cubicBezTo>
                  <a:cubicBezTo>
                    <a:pt x="4555" y="1936"/>
                    <a:pt x="4555" y="1936"/>
                    <a:pt x="4555" y="1936"/>
                  </a:cubicBezTo>
                  <a:cubicBezTo>
                    <a:pt x="4550" y="1915"/>
                    <a:pt x="4550" y="1915"/>
                    <a:pt x="4550" y="1915"/>
                  </a:cubicBezTo>
                  <a:cubicBezTo>
                    <a:pt x="4550" y="1915"/>
                    <a:pt x="4534" y="1904"/>
                    <a:pt x="4535" y="1887"/>
                  </a:cubicBezTo>
                  <a:cubicBezTo>
                    <a:pt x="4536" y="1870"/>
                    <a:pt x="4559" y="1865"/>
                    <a:pt x="4559" y="1865"/>
                  </a:cubicBezTo>
                  <a:cubicBezTo>
                    <a:pt x="4550" y="1850"/>
                    <a:pt x="4550" y="1850"/>
                    <a:pt x="4550" y="1850"/>
                  </a:cubicBezTo>
                  <a:cubicBezTo>
                    <a:pt x="4573" y="1851"/>
                    <a:pt x="4573" y="1851"/>
                    <a:pt x="4573" y="1851"/>
                  </a:cubicBezTo>
                  <a:cubicBezTo>
                    <a:pt x="4573" y="1851"/>
                    <a:pt x="4567" y="1810"/>
                    <a:pt x="4576" y="1806"/>
                  </a:cubicBezTo>
                  <a:cubicBezTo>
                    <a:pt x="4585" y="1802"/>
                    <a:pt x="4592" y="1815"/>
                    <a:pt x="4592" y="1815"/>
                  </a:cubicBezTo>
                  <a:cubicBezTo>
                    <a:pt x="4601" y="1807"/>
                    <a:pt x="4601" y="1807"/>
                    <a:pt x="4601" y="1807"/>
                  </a:cubicBezTo>
                  <a:cubicBezTo>
                    <a:pt x="4601" y="1807"/>
                    <a:pt x="4617" y="1839"/>
                    <a:pt x="4625" y="1837"/>
                  </a:cubicBezTo>
                  <a:cubicBezTo>
                    <a:pt x="4633" y="1835"/>
                    <a:pt x="4652" y="1829"/>
                    <a:pt x="4652" y="1829"/>
                  </a:cubicBezTo>
                  <a:cubicBezTo>
                    <a:pt x="4652" y="1841"/>
                    <a:pt x="4652" y="1841"/>
                    <a:pt x="4652" y="1841"/>
                  </a:cubicBezTo>
                  <a:cubicBezTo>
                    <a:pt x="4652" y="1841"/>
                    <a:pt x="4707" y="1821"/>
                    <a:pt x="4709" y="1801"/>
                  </a:cubicBezTo>
                  <a:cubicBezTo>
                    <a:pt x="4711" y="1781"/>
                    <a:pt x="4714" y="1753"/>
                    <a:pt x="4714" y="1753"/>
                  </a:cubicBezTo>
                  <a:cubicBezTo>
                    <a:pt x="4728" y="1746"/>
                    <a:pt x="4728" y="1746"/>
                    <a:pt x="4728" y="1746"/>
                  </a:cubicBezTo>
                  <a:cubicBezTo>
                    <a:pt x="4728" y="1746"/>
                    <a:pt x="4726" y="1703"/>
                    <a:pt x="4735" y="1696"/>
                  </a:cubicBezTo>
                  <a:cubicBezTo>
                    <a:pt x="4744" y="1689"/>
                    <a:pt x="4746" y="1665"/>
                    <a:pt x="4748" y="1649"/>
                  </a:cubicBezTo>
                  <a:cubicBezTo>
                    <a:pt x="4750" y="1633"/>
                    <a:pt x="4739" y="1606"/>
                    <a:pt x="4739" y="1606"/>
                  </a:cubicBezTo>
                  <a:cubicBezTo>
                    <a:pt x="4739" y="1606"/>
                    <a:pt x="4753" y="1584"/>
                    <a:pt x="4753" y="1579"/>
                  </a:cubicBezTo>
                  <a:cubicBezTo>
                    <a:pt x="4753" y="1574"/>
                    <a:pt x="4745" y="1564"/>
                    <a:pt x="4745" y="1564"/>
                  </a:cubicBezTo>
                  <a:cubicBezTo>
                    <a:pt x="4745" y="1564"/>
                    <a:pt x="4762" y="1540"/>
                    <a:pt x="4758" y="1531"/>
                  </a:cubicBezTo>
                  <a:cubicBezTo>
                    <a:pt x="4754" y="1522"/>
                    <a:pt x="4742" y="1495"/>
                    <a:pt x="4742" y="1495"/>
                  </a:cubicBezTo>
                  <a:cubicBezTo>
                    <a:pt x="4742" y="1495"/>
                    <a:pt x="4734" y="1467"/>
                    <a:pt x="4727" y="1464"/>
                  </a:cubicBezTo>
                  <a:cubicBezTo>
                    <a:pt x="4720" y="1461"/>
                    <a:pt x="4715" y="1457"/>
                    <a:pt x="4715" y="1457"/>
                  </a:cubicBezTo>
                  <a:cubicBezTo>
                    <a:pt x="4719" y="1450"/>
                    <a:pt x="4719" y="1450"/>
                    <a:pt x="4719" y="1450"/>
                  </a:cubicBezTo>
                  <a:cubicBezTo>
                    <a:pt x="4719" y="1450"/>
                    <a:pt x="4700" y="1442"/>
                    <a:pt x="4694" y="1427"/>
                  </a:cubicBezTo>
                  <a:cubicBezTo>
                    <a:pt x="4688" y="1412"/>
                    <a:pt x="4686" y="1400"/>
                    <a:pt x="4686" y="1400"/>
                  </a:cubicBezTo>
                  <a:cubicBezTo>
                    <a:pt x="4677" y="1394"/>
                    <a:pt x="4677" y="1394"/>
                    <a:pt x="4677" y="1394"/>
                  </a:cubicBezTo>
                  <a:cubicBezTo>
                    <a:pt x="4677" y="1394"/>
                    <a:pt x="4684" y="1364"/>
                    <a:pt x="4677" y="1355"/>
                  </a:cubicBezTo>
                  <a:cubicBezTo>
                    <a:pt x="4670" y="1346"/>
                    <a:pt x="4665" y="1339"/>
                    <a:pt x="4665" y="1339"/>
                  </a:cubicBezTo>
                  <a:cubicBezTo>
                    <a:pt x="4653" y="1335"/>
                    <a:pt x="4653" y="1335"/>
                    <a:pt x="4653" y="1335"/>
                  </a:cubicBezTo>
                  <a:cubicBezTo>
                    <a:pt x="4653" y="1335"/>
                    <a:pt x="4649" y="1321"/>
                    <a:pt x="4642" y="1316"/>
                  </a:cubicBezTo>
                  <a:cubicBezTo>
                    <a:pt x="4635" y="1311"/>
                    <a:pt x="4618" y="1303"/>
                    <a:pt x="4618" y="1303"/>
                  </a:cubicBezTo>
                  <a:cubicBezTo>
                    <a:pt x="4604" y="1299"/>
                    <a:pt x="4604" y="1299"/>
                    <a:pt x="4604" y="1299"/>
                  </a:cubicBezTo>
                  <a:cubicBezTo>
                    <a:pt x="4601" y="1290"/>
                    <a:pt x="4601" y="1290"/>
                    <a:pt x="4601" y="1290"/>
                  </a:cubicBezTo>
                  <a:cubicBezTo>
                    <a:pt x="4601" y="1290"/>
                    <a:pt x="4629" y="1303"/>
                    <a:pt x="4632" y="1297"/>
                  </a:cubicBezTo>
                  <a:cubicBezTo>
                    <a:pt x="4635" y="1291"/>
                    <a:pt x="4614" y="1285"/>
                    <a:pt x="4614" y="1285"/>
                  </a:cubicBezTo>
                  <a:cubicBezTo>
                    <a:pt x="4559" y="1259"/>
                    <a:pt x="4559" y="1259"/>
                    <a:pt x="4559" y="1259"/>
                  </a:cubicBezTo>
                  <a:cubicBezTo>
                    <a:pt x="4559" y="1259"/>
                    <a:pt x="4531" y="1242"/>
                    <a:pt x="4523" y="1237"/>
                  </a:cubicBezTo>
                  <a:cubicBezTo>
                    <a:pt x="4515" y="1232"/>
                    <a:pt x="4501" y="1242"/>
                    <a:pt x="4501" y="1242"/>
                  </a:cubicBezTo>
                  <a:cubicBezTo>
                    <a:pt x="4475" y="1235"/>
                    <a:pt x="4475" y="1235"/>
                    <a:pt x="4475" y="1235"/>
                  </a:cubicBezTo>
                  <a:cubicBezTo>
                    <a:pt x="4500" y="1263"/>
                    <a:pt x="4500" y="1263"/>
                    <a:pt x="4500" y="1263"/>
                  </a:cubicBezTo>
                  <a:cubicBezTo>
                    <a:pt x="4496" y="1280"/>
                    <a:pt x="4496" y="1280"/>
                    <a:pt x="4496" y="1280"/>
                  </a:cubicBezTo>
                  <a:cubicBezTo>
                    <a:pt x="4488" y="1278"/>
                    <a:pt x="4488" y="1278"/>
                    <a:pt x="4488" y="1278"/>
                  </a:cubicBezTo>
                  <a:cubicBezTo>
                    <a:pt x="4487" y="1258"/>
                    <a:pt x="4487" y="1258"/>
                    <a:pt x="4487" y="1258"/>
                  </a:cubicBezTo>
                  <a:cubicBezTo>
                    <a:pt x="4477" y="1251"/>
                    <a:pt x="4477" y="1251"/>
                    <a:pt x="4477" y="1251"/>
                  </a:cubicBezTo>
                  <a:cubicBezTo>
                    <a:pt x="4475" y="1270"/>
                    <a:pt x="4475" y="1270"/>
                    <a:pt x="4475" y="1270"/>
                  </a:cubicBezTo>
                  <a:cubicBezTo>
                    <a:pt x="4446" y="1272"/>
                    <a:pt x="4446" y="1272"/>
                    <a:pt x="4446" y="1272"/>
                  </a:cubicBezTo>
                  <a:cubicBezTo>
                    <a:pt x="4446" y="1272"/>
                    <a:pt x="4453" y="1262"/>
                    <a:pt x="4448" y="1256"/>
                  </a:cubicBezTo>
                  <a:cubicBezTo>
                    <a:pt x="4443" y="1250"/>
                    <a:pt x="4430" y="1252"/>
                    <a:pt x="4430" y="1252"/>
                  </a:cubicBezTo>
                  <a:cubicBezTo>
                    <a:pt x="4425" y="1259"/>
                    <a:pt x="4425" y="1259"/>
                    <a:pt x="4425" y="1259"/>
                  </a:cubicBezTo>
                  <a:cubicBezTo>
                    <a:pt x="4410" y="1260"/>
                    <a:pt x="4410" y="1260"/>
                    <a:pt x="4410" y="1260"/>
                  </a:cubicBezTo>
                  <a:cubicBezTo>
                    <a:pt x="4401" y="1235"/>
                    <a:pt x="4401" y="1235"/>
                    <a:pt x="4401" y="1235"/>
                  </a:cubicBezTo>
                  <a:cubicBezTo>
                    <a:pt x="4397" y="1234"/>
                    <a:pt x="4397" y="1234"/>
                    <a:pt x="4397" y="1234"/>
                  </a:cubicBezTo>
                  <a:cubicBezTo>
                    <a:pt x="4389" y="1221"/>
                    <a:pt x="4389" y="1221"/>
                    <a:pt x="4389" y="1221"/>
                  </a:cubicBezTo>
                  <a:cubicBezTo>
                    <a:pt x="4341" y="1223"/>
                    <a:pt x="4341" y="1223"/>
                    <a:pt x="4341" y="1223"/>
                  </a:cubicBezTo>
                  <a:cubicBezTo>
                    <a:pt x="4335" y="1217"/>
                    <a:pt x="4335" y="1217"/>
                    <a:pt x="4335" y="1217"/>
                  </a:cubicBezTo>
                  <a:cubicBezTo>
                    <a:pt x="4335" y="1217"/>
                    <a:pt x="4309" y="1221"/>
                    <a:pt x="4309" y="1204"/>
                  </a:cubicBezTo>
                  <a:cubicBezTo>
                    <a:pt x="4309" y="1187"/>
                    <a:pt x="4331" y="1185"/>
                    <a:pt x="4331" y="1185"/>
                  </a:cubicBezTo>
                  <a:cubicBezTo>
                    <a:pt x="4331" y="1169"/>
                    <a:pt x="4331" y="1169"/>
                    <a:pt x="4331" y="1169"/>
                  </a:cubicBezTo>
                  <a:cubicBezTo>
                    <a:pt x="4331" y="1169"/>
                    <a:pt x="4350" y="1168"/>
                    <a:pt x="4351" y="1157"/>
                  </a:cubicBezTo>
                  <a:cubicBezTo>
                    <a:pt x="4352" y="1146"/>
                    <a:pt x="4362" y="1131"/>
                    <a:pt x="4362" y="1131"/>
                  </a:cubicBezTo>
                  <a:cubicBezTo>
                    <a:pt x="4352" y="1122"/>
                    <a:pt x="4352" y="1122"/>
                    <a:pt x="4352" y="1122"/>
                  </a:cubicBezTo>
                  <a:cubicBezTo>
                    <a:pt x="4359" y="1109"/>
                    <a:pt x="4359" y="1109"/>
                    <a:pt x="4359" y="1109"/>
                  </a:cubicBezTo>
                  <a:cubicBezTo>
                    <a:pt x="4352" y="1099"/>
                    <a:pt x="4352" y="1099"/>
                    <a:pt x="4352" y="1099"/>
                  </a:cubicBezTo>
                  <a:cubicBezTo>
                    <a:pt x="4366" y="1088"/>
                    <a:pt x="4366" y="1088"/>
                    <a:pt x="4366" y="1088"/>
                  </a:cubicBezTo>
                  <a:cubicBezTo>
                    <a:pt x="4380" y="1085"/>
                    <a:pt x="4380" y="1085"/>
                    <a:pt x="4380" y="1085"/>
                  </a:cubicBezTo>
                  <a:cubicBezTo>
                    <a:pt x="4374" y="1063"/>
                    <a:pt x="4374" y="1063"/>
                    <a:pt x="4374" y="1063"/>
                  </a:cubicBezTo>
                  <a:cubicBezTo>
                    <a:pt x="4389" y="1058"/>
                    <a:pt x="4389" y="1058"/>
                    <a:pt x="4389" y="1058"/>
                  </a:cubicBezTo>
                  <a:cubicBezTo>
                    <a:pt x="4371" y="1035"/>
                    <a:pt x="4371" y="1035"/>
                    <a:pt x="4371" y="1035"/>
                  </a:cubicBezTo>
                  <a:cubicBezTo>
                    <a:pt x="4393" y="1026"/>
                    <a:pt x="4393" y="1026"/>
                    <a:pt x="4393" y="1026"/>
                  </a:cubicBezTo>
                  <a:cubicBezTo>
                    <a:pt x="4393" y="1026"/>
                    <a:pt x="4386" y="996"/>
                    <a:pt x="4402" y="986"/>
                  </a:cubicBezTo>
                  <a:cubicBezTo>
                    <a:pt x="4418" y="976"/>
                    <a:pt x="4424" y="975"/>
                    <a:pt x="4424" y="975"/>
                  </a:cubicBezTo>
                  <a:cubicBezTo>
                    <a:pt x="4424" y="975"/>
                    <a:pt x="4449" y="979"/>
                    <a:pt x="4461" y="978"/>
                  </a:cubicBezTo>
                  <a:cubicBezTo>
                    <a:pt x="4473" y="977"/>
                    <a:pt x="4525" y="981"/>
                    <a:pt x="4525" y="981"/>
                  </a:cubicBezTo>
                  <a:cubicBezTo>
                    <a:pt x="4536" y="992"/>
                    <a:pt x="4536" y="992"/>
                    <a:pt x="4536" y="992"/>
                  </a:cubicBezTo>
                  <a:cubicBezTo>
                    <a:pt x="4549" y="987"/>
                    <a:pt x="4549" y="987"/>
                    <a:pt x="4549" y="987"/>
                  </a:cubicBezTo>
                  <a:cubicBezTo>
                    <a:pt x="4544" y="975"/>
                    <a:pt x="4544" y="975"/>
                    <a:pt x="4544" y="975"/>
                  </a:cubicBezTo>
                  <a:cubicBezTo>
                    <a:pt x="4594" y="988"/>
                    <a:pt x="4594" y="988"/>
                    <a:pt x="4594" y="988"/>
                  </a:cubicBezTo>
                  <a:cubicBezTo>
                    <a:pt x="4614" y="976"/>
                    <a:pt x="4614" y="976"/>
                    <a:pt x="4614" y="976"/>
                  </a:cubicBezTo>
                  <a:cubicBezTo>
                    <a:pt x="4633" y="991"/>
                    <a:pt x="4633" y="991"/>
                    <a:pt x="4633" y="991"/>
                  </a:cubicBezTo>
                  <a:cubicBezTo>
                    <a:pt x="4638" y="967"/>
                    <a:pt x="4638" y="967"/>
                    <a:pt x="4638" y="967"/>
                  </a:cubicBezTo>
                  <a:cubicBezTo>
                    <a:pt x="4638" y="967"/>
                    <a:pt x="4661" y="965"/>
                    <a:pt x="4677" y="966"/>
                  </a:cubicBezTo>
                  <a:cubicBezTo>
                    <a:pt x="4693" y="967"/>
                    <a:pt x="4699" y="981"/>
                    <a:pt x="4705" y="979"/>
                  </a:cubicBezTo>
                  <a:cubicBezTo>
                    <a:pt x="4711" y="977"/>
                    <a:pt x="4729" y="966"/>
                    <a:pt x="4729" y="966"/>
                  </a:cubicBezTo>
                  <a:cubicBezTo>
                    <a:pt x="4745" y="980"/>
                    <a:pt x="4745" y="980"/>
                    <a:pt x="4745" y="980"/>
                  </a:cubicBezTo>
                  <a:cubicBezTo>
                    <a:pt x="4773" y="985"/>
                    <a:pt x="4773" y="985"/>
                    <a:pt x="4773" y="985"/>
                  </a:cubicBezTo>
                  <a:cubicBezTo>
                    <a:pt x="4737" y="992"/>
                    <a:pt x="4737" y="992"/>
                    <a:pt x="4737" y="992"/>
                  </a:cubicBezTo>
                  <a:cubicBezTo>
                    <a:pt x="4737" y="992"/>
                    <a:pt x="4748" y="1013"/>
                    <a:pt x="4759" y="1008"/>
                  </a:cubicBezTo>
                  <a:cubicBezTo>
                    <a:pt x="4770" y="1003"/>
                    <a:pt x="4790" y="995"/>
                    <a:pt x="4790" y="995"/>
                  </a:cubicBezTo>
                  <a:cubicBezTo>
                    <a:pt x="4808" y="1004"/>
                    <a:pt x="4808" y="1004"/>
                    <a:pt x="4808" y="1004"/>
                  </a:cubicBezTo>
                  <a:cubicBezTo>
                    <a:pt x="4823" y="992"/>
                    <a:pt x="4823" y="992"/>
                    <a:pt x="4823" y="992"/>
                  </a:cubicBezTo>
                  <a:cubicBezTo>
                    <a:pt x="4823" y="992"/>
                    <a:pt x="4850" y="1001"/>
                    <a:pt x="4858" y="997"/>
                  </a:cubicBezTo>
                  <a:cubicBezTo>
                    <a:pt x="4866" y="993"/>
                    <a:pt x="4860" y="985"/>
                    <a:pt x="4860" y="985"/>
                  </a:cubicBezTo>
                  <a:cubicBezTo>
                    <a:pt x="4884" y="987"/>
                    <a:pt x="4884" y="987"/>
                    <a:pt x="4884" y="987"/>
                  </a:cubicBezTo>
                  <a:cubicBezTo>
                    <a:pt x="4851" y="969"/>
                    <a:pt x="4851" y="969"/>
                    <a:pt x="4851" y="969"/>
                  </a:cubicBezTo>
                  <a:cubicBezTo>
                    <a:pt x="4833" y="976"/>
                    <a:pt x="4833" y="976"/>
                    <a:pt x="4833" y="976"/>
                  </a:cubicBezTo>
                  <a:cubicBezTo>
                    <a:pt x="4828" y="964"/>
                    <a:pt x="4828" y="964"/>
                    <a:pt x="4828" y="964"/>
                  </a:cubicBezTo>
                  <a:cubicBezTo>
                    <a:pt x="4828" y="964"/>
                    <a:pt x="4813" y="941"/>
                    <a:pt x="4815" y="936"/>
                  </a:cubicBezTo>
                  <a:cubicBezTo>
                    <a:pt x="4817" y="931"/>
                    <a:pt x="4834" y="917"/>
                    <a:pt x="4834" y="917"/>
                  </a:cubicBezTo>
                  <a:cubicBezTo>
                    <a:pt x="4830" y="897"/>
                    <a:pt x="4830" y="897"/>
                    <a:pt x="4830" y="897"/>
                  </a:cubicBezTo>
                  <a:cubicBezTo>
                    <a:pt x="4839" y="889"/>
                    <a:pt x="4839" y="889"/>
                    <a:pt x="4839" y="889"/>
                  </a:cubicBezTo>
                  <a:cubicBezTo>
                    <a:pt x="4839" y="889"/>
                    <a:pt x="4813" y="876"/>
                    <a:pt x="4830" y="865"/>
                  </a:cubicBezTo>
                  <a:cubicBezTo>
                    <a:pt x="4847" y="854"/>
                    <a:pt x="4883" y="865"/>
                    <a:pt x="4883" y="865"/>
                  </a:cubicBezTo>
                  <a:cubicBezTo>
                    <a:pt x="4897" y="851"/>
                    <a:pt x="4897" y="851"/>
                    <a:pt x="4897" y="851"/>
                  </a:cubicBezTo>
                  <a:cubicBezTo>
                    <a:pt x="4919" y="870"/>
                    <a:pt x="4919" y="870"/>
                    <a:pt x="4919" y="870"/>
                  </a:cubicBezTo>
                  <a:cubicBezTo>
                    <a:pt x="4938" y="859"/>
                    <a:pt x="4938" y="859"/>
                    <a:pt x="4938" y="859"/>
                  </a:cubicBezTo>
                  <a:cubicBezTo>
                    <a:pt x="4938" y="859"/>
                    <a:pt x="4951" y="892"/>
                    <a:pt x="4958" y="895"/>
                  </a:cubicBezTo>
                  <a:cubicBezTo>
                    <a:pt x="4965" y="898"/>
                    <a:pt x="4986" y="894"/>
                    <a:pt x="4986" y="894"/>
                  </a:cubicBezTo>
                  <a:cubicBezTo>
                    <a:pt x="4986" y="894"/>
                    <a:pt x="4986" y="925"/>
                    <a:pt x="4997" y="921"/>
                  </a:cubicBezTo>
                  <a:cubicBezTo>
                    <a:pt x="5008" y="917"/>
                    <a:pt x="5023" y="877"/>
                    <a:pt x="5023" y="877"/>
                  </a:cubicBezTo>
                  <a:cubicBezTo>
                    <a:pt x="5039" y="868"/>
                    <a:pt x="5039" y="868"/>
                    <a:pt x="5039" y="868"/>
                  </a:cubicBezTo>
                  <a:cubicBezTo>
                    <a:pt x="5059" y="875"/>
                    <a:pt x="5059" y="875"/>
                    <a:pt x="5059" y="875"/>
                  </a:cubicBezTo>
                  <a:cubicBezTo>
                    <a:pt x="5058" y="866"/>
                    <a:pt x="5058" y="866"/>
                    <a:pt x="5058" y="866"/>
                  </a:cubicBezTo>
                  <a:cubicBezTo>
                    <a:pt x="5039" y="856"/>
                    <a:pt x="5039" y="856"/>
                    <a:pt x="5039" y="856"/>
                  </a:cubicBezTo>
                  <a:cubicBezTo>
                    <a:pt x="5039" y="856"/>
                    <a:pt x="4992" y="822"/>
                    <a:pt x="5003" y="821"/>
                  </a:cubicBezTo>
                  <a:cubicBezTo>
                    <a:pt x="5014" y="820"/>
                    <a:pt x="5068" y="822"/>
                    <a:pt x="5068" y="822"/>
                  </a:cubicBezTo>
                  <a:cubicBezTo>
                    <a:pt x="5102" y="822"/>
                    <a:pt x="5102" y="822"/>
                    <a:pt x="5102" y="822"/>
                  </a:cubicBezTo>
                  <a:cubicBezTo>
                    <a:pt x="5102" y="822"/>
                    <a:pt x="5105" y="836"/>
                    <a:pt x="5101" y="835"/>
                  </a:cubicBezTo>
                  <a:cubicBezTo>
                    <a:pt x="5097" y="834"/>
                    <a:pt x="5058" y="822"/>
                    <a:pt x="5060" y="836"/>
                  </a:cubicBezTo>
                  <a:cubicBezTo>
                    <a:pt x="5062" y="850"/>
                    <a:pt x="5085" y="863"/>
                    <a:pt x="5085" y="863"/>
                  </a:cubicBezTo>
                  <a:cubicBezTo>
                    <a:pt x="5087" y="880"/>
                    <a:pt x="5087" y="880"/>
                    <a:pt x="5087" y="880"/>
                  </a:cubicBezTo>
                  <a:cubicBezTo>
                    <a:pt x="5107" y="883"/>
                    <a:pt x="5107" y="883"/>
                    <a:pt x="5107" y="883"/>
                  </a:cubicBezTo>
                  <a:cubicBezTo>
                    <a:pt x="5103" y="896"/>
                    <a:pt x="5103" y="896"/>
                    <a:pt x="5103" y="896"/>
                  </a:cubicBezTo>
                  <a:cubicBezTo>
                    <a:pt x="5116" y="907"/>
                    <a:pt x="5116" y="907"/>
                    <a:pt x="5116" y="907"/>
                  </a:cubicBezTo>
                  <a:cubicBezTo>
                    <a:pt x="5098" y="910"/>
                    <a:pt x="5098" y="910"/>
                    <a:pt x="5098" y="910"/>
                  </a:cubicBezTo>
                  <a:cubicBezTo>
                    <a:pt x="5093" y="921"/>
                    <a:pt x="5093" y="921"/>
                    <a:pt x="5093" y="921"/>
                  </a:cubicBezTo>
                  <a:cubicBezTo>
                    <a:pt x="5081" y="925"/>
                    <a:pt x="5081" y="925"/>
                    <a:pt x="5081" y="925"/>
                  </a:cubicBezTo>
                  <a:cubicBezTo>
                    <a:pt x="5081" y="925"/>
                    <a:pt x="5094" y="947"/>
                    <a:pt x="5087" y="959"/>
                  </a:cubicBezTo>
                  <a:cubicBezTo>
                    <a:pt x="5080" y="971"/>
                    <a:pt x="5069" y="991"/>
                    <a:pt x="5069" y="998"/>
                  </a:cubicBezTo>
                  <a:cubicBezTo>
                    <a:pt x="5069" y="1005"/>
                    <a:pt x="5087" y="1011"/>
                    <a:pt x="5074" y="1028"/>
                  </a:cubicBezTo>
                  <a:cubicBezTo>
                    <a:pt x="5061" y="1045"/>
                    <a:pt x="5039" y="1050"/>
                    <a:pt x="5039" y="1050"/>
                  </a:cubicBezTo>
                  <a:cubicBezTo>
                    <a:pt x="5042" y="1062"/>
                    <a:pt x="5042" y="1062"/>
                    <a:pt x="5042" y="1062"/>
                  </a:cubicBezTo>
                  <a:cubicBezTo>
                    <a:pt x="5029" y="1062"/>
                    <a:pt x="5029" y="1062"/>
                    <a:pt x="5029" y="1062"/>
                  </a:cubicBezTo>
                  <a:cubicBezTo>
                    <a:pt x="5029" y="1062"/>
                    <a:pt x="5053" y="1072"/>
                    <a:pt x="5051" y="1089"/>
                  </a:cubicBezTo>
                  <a:cubicBezTo>
                    <a:pt x="5049" y="1106"/>
                    <a:pt x="5042" y="1117"/>
                    <a:pt x="5049" y="1134"/>
                  </a:cubicBezTo>
                  <a:cubicBezTo>
                    <a:pt x="5056" y="1151"/>
                    <a:pt x="5121" y="1205"/>
                    <a:pt x="5121" y="1205"/>
                  </a:cubicBezTo>
                  <a:cubicBezTo>
                    <a:pt x="5161" y="1246"/>
                    <a:pt x="5161" y="1246"/>
                    <a:pt x="5161" y="1246"/>
                  </a:cubicBezTo>
                  <a:cubicBezTo>
                    <a:pt x="5170" y="1243"/>
                    <a:pt x="5170" y="1243"/>
                    <a:pt x="5170" y="1243"/>
                  </a:cubicBezTo>
                  <a:cubicBezTo>
                    <a:pt x="5223" y="1307"/>
                    <a:pt x="5223" y="1307"/>
                    <a:pt x="5223" y="1307"/>
                  </a:cubicBezTo>
                  <a:cubicBezTo>
                    <a:pt x="5258" y="1318"/>
                    <a:pt x="5258" y="1318"/>
                    <a:pt x="5258" y="1318"/>
                  </a:cubicBezTo>
                  <a:cubicBezTo>
                    <a:pt x="5273" y="1336"/>
                    <a:pt x="5273" y="1336"/>
                    <a:pt x="5273" y="1336"/>
                  </a:cubicBezTo>
                  <a:cubicBezTo>
                    <a:pt x="5273" y="1336"/>
                    <a:pt x="5312" y="1384"/>
                    <a:pt x="5319" y="1388"/>
                  </a:cubicBezTo>
                  <a:cubicBezTo>
                    <a:pt x="5326" y="1392"/>
                    <a:pt x="5337" y="1392"/>
                    <a:pt x="5337" y="1392"/>
                  </a:cubicBezTo>
                  <a:cubicBezTo>
                    <a:pt x="5337" y="1392"/>
                    <a:pt x="5331" y="1410"/>
                    <a:pt x="5346" y="1404"/>
                  </a:cubicBezTo>
                  <a:cubicBezTo>
                    <a:pt x="5361" y="1398"/>
                    <a:pt x="5359" y="1385"/>
                    <a:pt x="5359" y="1385"/>
                  </a:cubicBezTo>
                  <a:cubicBezTo>
                    <a:pt x="5352" y="1377"/>
                    <a:pt x="5352" y="1377"/>
                    <a:pt x="5352" y="1377"/>
                  </a:cubicBezTo>
                  <a:cubicBezTo>
                    <a:pt x="5352" y="1377"/>
                    <a:pt x="5367" y="1357"/>
                    <a:pt x="5364" y="1348"/>
                  </a:cubicBezTo>
                  <a:cubicBezTo>
                    <a:pt x="5361" y="1339"/>
                    <a:pt x="5330" y="1322"/>
                    <a:pt x="5337" y="1309"/>
                  </a:cubicBezTo>
                  <a:cubicBezTo>
                    <a:pt x="5344" y="1296"/>
                    <a:pt x="5353" y="1288"/>
                    <a:pt x="5356" y="1287"/>
                  </a:cubicBezTo>
                  <a:cubicBezTo>
                    <a:pt x="5359" y="1286"/>
                    <a:pt x="5379" y="1294"/>
                    <a:pt x="5379" y="1294"/>
                  </a:cubicBezTo>
                  <a:cubicBezTo>
                    <a:pt x="5379" y="1294"/>
                    <a:pt x="5357" y="1268"/>
                    <a:pt x="5351" y="1264"/>
                  </a:cubicBezTo>
                  <a:cubicBezTo>
                    <a:pt x="5345" y="1260"/>
                    <a:pt x="5330" y="1254"/>
                    <a:pt x="5333" y="1239"/>
                  </a:cubicBezTo>
                  <a:cubicBezTo>
                    <a:pt x="5336" y="1224"/>
                    <a:pt x="5354" y="1219"/>
                    <a:pt x="5354" y="1219"/>
                  </a:cubicBezTo>
                  <a:cubicBezTo>
                    <a:pt x="5354" y="1219"/>
                    <a:pt x="5383" y="1231"/>
                    <a:pt x="5381" y="1216"/>
                  </a:cubicBezTo>
                  <a:cubicBezTo>
                    <a:pt x="5379" y="1201"/>
                    <a:pt x="5366" y="1197"/>
                    <a:pt x="5350" y="1189"/>
                  </a:cubicBezTo>
                  <a:cubicBezTo>
                    <a:pt x="5334" y="1181"/>
                    <a:pt x="5320" y="1162"/>
                    <a:pt x="5319" y="1151"/>
                  </a:cubicBezTo>
                  <a:cubicBezTo>
                    <a:pt x="5318" y="1140"/>
                    <a:pt x="5312" y="1128"/>
                    <a:pt x="5312" y="1128"/>
                  </a:cubicBezTo>
                  <a:cubicBezTo>
                    <a:pt x="5319" y="1125"/>
                    <a:pt x="5319" y="1125"/>
                    <a:pt x="5319" y="1125"/>
                  </a:cubicBezTo>
                  <a:cubicBezTo>
                    <a:pt x="5319" y="1125"/>
                    <a:pt x="5345" y="1150"/>
                    <a:pt x="5351" y="1145"/>
                  </a:cubicBezTo>
                  <a:cubicBezTo>
                    <a:pt x="5357" y="1140"/>
                    <a:pt x="5333" y="1113"/>
                    <a:pt x="5333" y="1113"/>
                  </a:cubicBezTo>
                  <a:cubicBezTo>
                    <a:pt x="5310" y="1110"/>
                    <a:pt x="5310" y="1110"/>
                    <a:pt x="5310" y="1110"/>
                  </a:cubicBezTo>
                  <a:cubicBezTo>
                    <a:pt x="5277" y="1082"/>
                    <a:pt x="5277" y="1082"/>
                    <a:pt x="5277" y="1082"/>
                  </a:cubicBezTo>
                  <a:cubicBezTo>
                    <a:pt x="5277" y="1082"/>
                    <a:pt x="5281" y="1061"/>
                    <a:pt x="5265" y="1054"/>
                  </a:cubicBezTo>
                  <a:cubicBezTo>
                    <a:pt x="5249" y="1047"/>
                    <a:pt x="5237" y="1047"/>
                    <a:pt x="5237" y="1047"/>
                  </a:cubicBezTo>
                  <a:cubicBezTo>
                    <a:pt x="5238" y="1059"/>
                    <a:pt x="5238" y="1059"/>
                    <a:pt x="5238" y="1059"/>
                  </a:cubicBezTo>
                  <a:cubicBezTo>
                    <a:pt x="5238" y="1059"/>
                    <a:pt x="5194" y="1049"/>
                    <a:pt x="5193" y="1033"/>
                  </a:cubicBezTo>
                  <a:cubicBezTo>
                    <a:pt x="5192" y="1017"/>
                    <a:pt x="5200" y="1006"/>
                    <a:pt x="5192" y="991"/>
                  </a:cubicBezTo>
                  <a:cubicBezTo>
                    <a:pt x="5184" y="976"/>
                    <a:pt x="5168" y="968"/>
                    <a:pt x="5168" y="968"/>
                  </a:cubicBezTo>
                  <a:cubicBezTo>
                    <a:pt x="5168" y="968"/>
                    <a:pt x="5170" y="952"/>
                    <a:pt x="5174" y="950"/>
                  </a:cubicBezTo>
                  <a:cubicBezTo>
                    <a:pt x="5178" y="948"/>
                    <a:pt x="5187" y="955"/>
                    <a:pt x="5187" y="955"/>
                  </a:cubicBezTo>
                  <a:cubicBezTo>
                    <a:pt x="5196" y="944"/>
                    <a:pt x="5196" y="944"/>
                    <a:pt x="5196" y="944"/>
                  </a:cubicBezTo>
                  <a:cubicBezTo>
                    <a:pt x="5221" y="963"/>
                    <a:pt x="5221" y="963"/>
                    <a:pt x="5221" y="963"/>
                  </a:cubicBezTo>
                  <a:cubicBezTo>
                    <a:pt x="5226" y="958"/>
                    <a:pt x="5226" y="958"/>
                    <a:pt x="5226" y="958"/>
                  </a:cubicBezTo>
                  <a:cubicBezTo>
                    <a:pt x="5218" y="950"/>
                    <a:pt x="5218" y="950"/>
                    <a:pt x="5218" y="950"/>
                  </a:cubicBezTo>
                  <a:cubicBezTo>
                    <a:pt x="5218" y="950"/>
                    <a:pt x="5224" y="918"/>
                    <a:pt x="5235" y="924"/>
                  </a:cubicBezTo>
                  <a:cubicBezTo>
                    <a:pt x="5246" y="930"/>
                    <a:pt x="5273" y="963"/>
                    <a:pt x="5273" y="963"/>
                  </a:cubicBezTo>
                  <a:cubicBezTo>
                    <a:pt x="5280" y="930"/>
                    <a:pt x="5280" y="930"/>
                    <a:pt x="5280" y="930"/>
                  </a:cubicBezTo>
                  <a:cubicBezTo>
                    <a:pt x="5280" y="930"/>
                    <a:pt x="5337" y="923"/>
                    <a:pt x="5346" y="923"/>
                  </a:cubicBezTo>
                  <a:cubicBezTo>
                    <a:pt x="5355" y="923"/>
                    <a:pt x="5392" y="943"/>
                    <a:pt x="5392" y="943"/>
                  </a:cubicBezTo>
                  <a:cubicBezTo>
                    <a:pt x="5420" y="954"/>
                    <a:pt x="5420" y="954"/>
                    <a:pt x="5420" y="954"/>
                  </a:cubicBezTo>
                  <a:cubicBezTo>
                    <a:pt x="5400" y="914"/>
                    <a:pt x="5400" y="914"/>
                    <a:pt x="5400" y="914"/>
                  </a:cubicBezTo>
                  <a:cubicBezTo>
                    <a:pt x="5400" y="914"/>
                    <a:pt x="5432" y="915"/>
                    <a:pt x="5434" y="904"/>
                  </a:cubicBezTo>
                  <a:cubicBezTo>
                    <a:pt x="5436" y="893"/>
                    <a:pt x="5426" y="875"/>
                    <a:pt x="5426" y="875"/>
                  </a:cubicBezTo>
                  <a:cubicBezTo>
                    <a:pt x="5439" y="876"/>
                    <a:pt x="5439" y="876"/>
                    <a:pt x="5439" y="876"/>
                  </a:cubicBezTo>
                  <a:cubicBezTo>
                    <a:pt x="5442" y="860"/>
                    <a:pt x="5442" y="860"/>
                    <a:pt x="5442" y="860"/>
                  </a:cubicBezTo>
                  <a:cubicBezTo>
                    <a:pt x="5442" y="860"/>
                    <a:pt x="5481" y="869"/>
                    <a:pt x="5487" y="854"/>
                  </a:cubicBezTo>
                  <a:cubicBezTo>
                    <a:pt x="5493" y="839"/>
                    <a:pt x="5513" y="827"/>
                    <a:pt x="5513" y="827"/>
                  </a:cubicBezTo>
                  <a:cubicBezTo>
                    <a:pt x="5499" y="810"/>
                    <a:pt x="5499" y="810"/>
                    <a:pt x="5499" y="810"/>
                  </a:cubicBezTo>
                  <a:cubicBezTo>
                    <a:pt x="5520" y="812"/>
                    <a:pt x="5520" y="812"/>
                    <a:pt x="5520" y="812"/>
                  </a:cubicBezTo>
                  <a:cubicBezTo>
                    <a:pt x="5523" y="824"/>
                    <a:pt x="5523" y="824"/>
                    <a:pt x="5523" y="824"/>
                  </a:cubicBezTo>
                  <a:cubicBezTo>
                    <a:pt x="5564" y="827"/>
                    <a:pt x="5564" y="827"/>
                    <a:pt x="5564" y="827"/>
                  </a:cubicBezTo>
                  <a:cubicBezTo>
                    <a:pt x="5564" y="827"/>
                    <a:pt x="5606" y="837"/>
                    <a:pt x="5606" y="831"/>
                  </a:cubicBezTo>
                  <a:cubicBezTo>
                    <a:pt x="5606" y="825"/>
                    <a:pt x="5602" y="813"/>
                    <a:pt x="5602" y="813"/>
                  </a:cubicBezTo>
                  <a:cubicBezTo>
                    <a:pt x="5577" y="810"/>
                    <a:pt x="5577" y="810"/>
                    <a:pt x="5577" y="810"/>
                  </a:cubicBezTo>
                  <a:cubicBezTo>
                    <a:pt x="5573" y="796"/>
                    <a:pt x="5573" y="796"/>
                    <a:pt x="5573" y="796"/>
                  </a:cubicBezTo>
                  <a:cubicBezTo>
                    <a:pt x="5573" y="796"/>
                    <a:pt x="5536" y="783"/>
                    <a:pt x="5524" y="779"/>
                  </a:cubicBezTo>
                  <a:cubicBezTo>
                    <a:pt x="5512" y="775"/>
                    <a:pt x="5503" y="781"/>
                    <a:pt x="5503" y="781"/>
                  </a:cubicBezTo>
                  <a:cubicBezTo>
                    <a:pt x="5507" y="769"/>
                    <a:pt x="5507" y="769"/>
                    <a:pt x="5507" y="769"/>
                  </a:cubicBezTo>
                  <a:cubicBezTo>
                    <a:pt x="5459" y="735"/>
                    <a:pt x="5459" y="735"/>
                    <a:pt x="5459" y="735"/>
                  </a:cubicBezTo>
                  <a:cubicBezTo>
                    <a:pt x="5448" y="746"/>
                    <a:pt x="5448" y="746"/>
                    <a:pt x="5448" y="746"/>
                  </a:cubicBezTo>
                  <a:cubicBezTo>
                    <a:pt x="5448" y="746"/>
                    <a:pt x="5428" y="741"/>
                    <a:pt x="5420" y="738"/>
                  </a:cubicBezTo>
                  <a:cubicBezTo>
                    <a:pt x="5412" y="735"/>
                    <a:pt x="5401" y="726"/>
                    <a:pt x="5401" y="726"/>
                  </a:cubicBezTo>
                  <a:cubicBezTo>
                    <a:pt x="5378" y="731"/>
                    <a:pt x="5378" y="731"/>
                    <a:pt x="5378" y="731"/>
                  </a:cubicBezTo>
                  <a:cubicBezTo>
                    <a:pt x="5359" y="729"/>
                    <a:pt x="5359" y="729"/>
                    <a:pt x="5359" y="729"/>
                  </a:cubicBezTo>
                  <a:cubicBezTo>
                    <a:pt x="5359" y="729"/>
                    <a:pt x="5328" y="711"/>
                    <a:pt x="5340" y="708"/>
                  </a:cubicBezTo>
                  <a:cubicBezTo>
                    <a:pt x="5352" y="705"/>
                    <a:pt x="5364" y="712"/>
                    <a:pt x="5373" y="714"/>
                  </a:cubicBezTo>
                  <a:cubicBezTo>
                    <a:pt x="5382" y="716"/>
                    <a:pt x="5426" y="723"/>
                    <a:pt x="5426" y="723"/>
                  </a:cubicBezTo>
                  <a:cubicBezTo>
                    <a:pt x="5426" y="723"/>
                    <a:pt x="5478" y="708"/>
                    <a:pt x="5478" y="701"/>
                  </a:cubicBezTo>
                  <a:cubicBezTo>
                    <a:pt x="5478" y="694"/>
                    <a:pt x="5448" y="678"/>
                    <a:pt x="5445" y="676"/>
                  </a:cubicBezTo>
                  <a:cubicBezTo>
                    <a:pt x="5442" y="674"/>
                    <a:pt x="5393" y="657"/>
                    <a:pt x="5408" y="648"/>
                  </a:cubicBezTo>
                  <a:cubicBezTo>
                    <a:pt x="5423" y="639"/>
                    <a:pt x="5448" y="659"/>
                    <a:pt x="5448" y="659"/>
                  </a:cubicBezTo>
                  <a:cubicBezTo>
                    <a:pt x="5448" y="659"/>
                    <a:pt x="5495" y="688"/>
                    <a:pt x="5509" y="686"/>
                  </a:cubicBezTo>
                  <a:cubicBezTo>
                    <a:pt x="5523" y="684"/>
                    <a:pt x="5528" y="670"/>
                    <a:pt x="5567" y="683"/>
                  </a:cubicBezTo>
                  <a:cubicBezTo>
                    <a:pt x="5606" y="696"/>
                    <a:pt x="5640" y="710"/>
                    <a:pt x="5651" y="712"/>
                  </a:cubicBezTo>
                  <a:cubicBezTo>
                    <a:pt x="5662" y="714"/>
                    <a:pt x="5705" y="726"/>
                    <a:pt x="5705" y="726"/>
                  </a:cubicBezTo>
                  <a:cubicBezTo>
                    <a:pt x="5705" y="726"/>
                    <a:pt x="5764" y="761"/>
                    <a:pt x="5760" y="743"/>
                  </a:cubicBezTo>
                  <a:cubicBezTo>
                    <a:pt x="5756" y="725"/>
                    <a:pt x="5736" y="714"/>
                    <a:pt x="5736" y="714"/>
                  </a:cubicBezTo>
                  <a:cubicBezTo>
                    <a:pt x="5748" y="705"/>
                    <a:pt x="5748" y="705"/>
                    <a:pt x="5748" y="705"/>
                  </a:cubicBezTo>
                  <a:cubicBezTo>
                    <a:pt x="5718" y="692"/>
                    <a:pt x="5718" y="692"/>
                    <a:pt x="5718" y="692"/>
                  </a:cubicBezTo>
                  <a:cubicBezTo>
                    <a:pt x="5724" y="688"/>
                    <a:pt x="5724" y="688"/>
                    <a:pt x="5724" y="688"/>
                  </a:cubicBezTo>
                  <a:cubicBezTo>
                    <a:pt x="5691" y="671"/>
                    <a:pt x="5691" y="671"/>
                    <a:pt x="5691" y="671"/>
                  </a:cubicBezTo>
                  <a:cubicBezTo>
                    <a:pt x="5727" y="678"/>
                    <a:pt x="5727" y="678"/>
                    <a:pt x="5727" y="678"/>
                  </a:cubicBezTo>
                  <a:cubicBezTo>
                    <a:pt x="5723" y="665"/>
                    <a:pt x="5723" y="665"/>
                    <a:pt x="5723" y="665"/>
                  </a:cubicBezTo>
                  <a:cubicBezTo>
                    <a:pt x="5723" y="665"/>
                    <a:pt x="5774" y="677"/>
                    <a:pt x="5763" y="663"/>
                  </a:cubicBezTo>
                  <a:close/>
                  <a:moveTo>
                    <a:pt x="1290" y="1925"/>
                  </a:moveTo>
                  <a:cubicBezTo>
                    <a:pt x="1287" y="1935"/>
                    <a:pt x="1287" y="1941"/>
                    <a:pt x="1280" y="1939"/>
                  </a:cubicBezTo>
                  <a:cubicBezTo>
                    <a:pt x="1274" y="1938"/>
                    <a:pt x="1259" y="1925"/>
                    <a:pt x="1262" y="1929"/>
                  </a:cubicBezTo>
                  <a:cubicBezTo>
                    <a:pt x="1264" y="1933"/>
                    <a:pt x="1259" y="1942"/>
                    <a:pt x="1259" y="1942"/>
                  </a:cubicBezTo>
                  <a:cubicBezTo>
                    <a:pt x="1232" y="1943"/>
                    <a:pt x="1232" y="1943"/>
                    <a:pt x="1232" y="1943"/>
                  </a:cubicBezTo>
                  <a:cubicBezTo>
                    <a:pt x="1224" y="1930"/>
                    <a:pt x="1224" y="1930"/>
                    <a:pt x="1224" y="1930"/>
                  </a:cubicBezTo>
                  <a:cubicBezTo>
                    <a:pt x="1220" y="1935"/>
                    <a:pt x="1220" y="1935"/>
                    <a:pt x="1220" y="1935"/>
                  </a:cubicBezTo>
                  <a:cubicBezTo>
                    <a:pt x="1220" y="1935"/>
                    <a:pt x="1210" y="1925"/>
                    <a:pt x="1204" y="1915"/>
                  </a:cubicBezTo>
                  <a:cubicBezTo>
                    <a:pt x="1199" y="1906"/>
                    <a:pt x="1203" y="1891"/>
                    <a:pt x="1199" y="1890"/>
                  </a:cubicBezTo>
                  <a:cubicBezTo>
                    <a:pt x="1198" y="1890"/>
                    <a:pt x="1196" y="1889"/>
                    <a:pt x="1194" y="1888"/>
                  </a:cubicBezTo>
                  <a:cubicBezTo>
                    <a:pt x="1194" y="1888"/>
                    <a:pt x="1194" y="1888"/>
                    <a:pt x="1194" y="1888"/>
                  </a:cubicBezTo>
                  <a:cubicBezTo>
                    <a:pt x="1196" y="1882"/>
                    <a:pt x="1202" y="1862"/>
                    <a:pt x="1210" y="1861"/>
                  </a:cubicBezTo>
                  <a:cubicBezTo>
                    <a:pt x="1215" y="1860"/>
                    <a:pt x="1223" y="1861"/>
                    <a:pt x="1229" y="1862"/>
                  </a:cubicBezTo>
                  <a:cubicBezTo>
                    <a:pt x="1229" y="1865"/>
                    <a:pt x="1230" y="1867"/>
                    <a:pt x="1230" y="1867"/>
                  </a:cubicBezTo>
                  <a:cubicBezTo>
                    <a:pt x="1230" y="1867"/>
                    <a:pt x="1240" y="1873"/>
                    <a:pt x="1240" y="1877"/>
                  </a:cubicBezTo>
                  <a:cubicBezTo>
                    <a:pt x="1240" y="1881"/>
                    <a:pt x="1243" y="1881"/>
                    <a:pt x="1250" y="1893"/>
                  </a:cubicBezTo>
                  <a:cubicBezTo>
                    <a:pt x="1256" y="1905"/>
                    <a:pt x="1292" y="1914"/>
                    <a:pt x="1290" y="1925"/>
                  </a:cubicBezTo>
                  <a:close/>
                  <a:moveTo>
                    <a:pt x="1052" y="2073"/>
                  </a:moveTo>
                  <a:cubicBezTo>
                    <a:pt x="1052" y="2073"/>
                    <a:pt x="1052" y="2074"/>
                    <a:pt x="1053" y="2076"/>
                  </a:cubicBezTo>
                  <a:cubicBezTo>
                    <a:pt x="1052" y="2074"/>
                    <a:pt x="1052" y="2073"/>
                    <a:pt x="1052" y="2073"/>
                  </a:cubicBezTo>
                  <a:close/>
                  <a:moveTo>
                    <a:pt x="1508" y="1650"/>
                  </a:moveTo>
                  <a:cubicBezTo>
                    <a:pt x="1505" y="1656"/>
                    <a:pt x="1491" y="1660"/>
                    <a:pt x="1491" y="1660"/>
                  </a:cubicBezTo>
                  <a:cubicBezTo>
                    <a:pt x="1491" y="1660"/>
                    <a:pt x="1483" y="1667"/>
                    <a:pt x="1479" y="1671"/>
                  </a:cubicBezTo>
                  <a:cubicBezTo>
                    <a:pt x="1475" y="1675"/>
                    <a:pt x="1459" y="1670"/>
                    <a:pt x="1456" y="1672"/>
                  </a:cubicBezTo>
                  <a:cubicBezTo>
                    <a:pt x="1453" y="1674"/>
                    <a:pt x="1453" y="1685"/>
                    <a:pt x="1453" y="1685"/>
                  </a:cubicBezTo>
                  <a:cubicBezTo>
                    <a:pt x="1453" y="1685"/>
                    <a:pt x="1468" y="1691"/>
                    <a:pt x="1472" y="1692"/>
                  </a:cubicBezTo>
                  <a:cubicBezTo>
                    <a:pt x="1476" y="1693"/>
                    <a:pt x="1479" y="1702"/>
                    <a:pt x="1473" y="1711"/>
                  </a:cubicBezTo>
                  <a:cubicBezTo>
                    <a:pt x="1470" y="1715"/>
                    <a:pt x="1473" y="1721"/>
                    <a:pt x="1476" y="1728"/>
                  </a:cubicBezTo>
                  <a:cubicBezTo>
                    <a:pt x="1480" y="1737"/>
                    <a:pt x="1485" y="1746"/>
                    <a:pt x="1482" y="1751"/>
                  </a:cubicBezTo>
                  <a:cubicBezTo>
                    <a:pt x="1477" y="1760"/>
                    <a:pt x="1473" y="1765"/>
                    <a:pt x="1473" y="1765"/>
                  </a:cubicBezTo>
                  <a:cubicBezTo>
                    <a:pt x="1473" y="1765"/>
                    <a:pt x="1461" y="1766"/>
                    <a:pt x="1453" y="1760"/>
                  </a:cubicBezTo>
                  <a:cubicBezTo>
                    <a:pt x="1445" y="1754"/>
                    <a:pt x="1448" y="1745"/>
                    <a:pt x="1448" y="1745"/>
                  </a:cubicBezTo>
                  <a:cubicBezTo>
                    <a:pt x="1441" y="1726"/>
                    <a:pt x="1441" y="1726"/>
                    <a:pt x="1441" y="1726"/>
                  </a:cubicBezTo>
                  <a:cubicBezTo>
                    <a:pt x="1444" y="1713"/>
                    <a:pt x="1444" y="1713"/>
                    <a:pt x="1444" y="1713"/>
                  </a:cubicBezTo>
                  <a:cubicBezTo>
                    <a:pt x="1446" y="1704"/>
                    <a:pt x="1446" y="1704"/>
                    <a:pt x="1446" y="1704"/>
                  </a:cubicBezTo>
                  <a:cubicBezTo>
                    <a:pt x="1446" y="1704"/>
                    <a:pt x="1438" y="1689"/>
                    <a:pt x="1431" y="1684"/>
                  </a:cubicBezTo>
                  <a:cubicBezTo>
                    <a:pt x="1424" y="1679"/>
                    <a:pt x="1423" y="1676"/>
                    <a:pt x="1423" y="1676"/>
                  </a:cubicBezTo>
                  <a:cubicBezTo>
                    <a:pt x="1414" y="1690"/>
                    <a:pt x="1414" y="1690"/>
                    <a:pt x="1414" y="1690"/>
                  </a:cubicBezTo>
                  <a:cubicBezTo>
                    <a:pt x="1411" y="1697"/>
                    <a:pt x="1411" y="1697"/>
                    <a:pt x="1411" y="1697"/>
                  </a:cubicBezTo>
                  <a:cubicBezTo>
                    <a:pt x="1405" y="1710"/>
                    <a:pt x="1405" y="1710"/>
                    <a:pt x="1405" y="1710"/>
                  </a:cubicBezTo>
                  <a:cubicBezTo>
                    <a:pt x="1405" y="1710"/>
                    <a:pt x="1418" y="1718"/>
                    <a:pt x="1418" y="1727"/>
                  </a:cubicBezTo>
                  <a:cubicBezTo>
                    <a:pt x="1418" y="1736"/>
                    <a:pt x="1415" y="1735"/>
                    <a:pt x="1415" y="1735"/>
                  </a:cubicBezTo>
                  <a:cubicBezTo>
                    <a:pt x="1415" y="1735"/>
                    <a:pt x="1416" y="1745"/>
                    <a:pt x="1405" y="1747"/>
                  </a:cubicBezTo>
                  <a:cubicBezTo>
                    <a:pt x="1394" y="1749"/>
                    <a:pt x="1397" y="1729"/>
                    <a:pt x="1391" y="1727"/>
                  </a:cubicBezTo>
                  <a:cubicBezTo>
                    <a:pt x="1385" y="1725"/>
                    <a:pt x="1398" y="1711"/>
                    <a:pt x="1398" y="1711"/>
                  </a:cubicBezTo>
                  <a:cubicBezTo>
                    <a:pt x="1402" y="1693"/>
                    <a:pt x="1402" y="1693"/>
                    <a:pt x="1402" y="1693"/>
                  </a:cubicBezTo>
                  <a:cubicBezTo>
                    <a:pt x="1402" y="1692"/>
                    <a:pt x="1402" y="1692"/>
                    <a:pt x="1402" y="1692"/>
                  </a:cubicBezTo>
                  <a:cubicBezTo>
                    <a:pt x="1402" y="1692"/>
                    <a:pt x="1406" y="1680"/>
                    <a:pt x="1407" y="1670"/>
                  </a:cubicBezTo>
                  <a:cubicBezTo>
                    <a:pt x="1408" y="1660"/>
                    <a:pt x="1427" y="1665"/>
                    <a:pt x="1427" y="1665"/>
                  </a:cubicBezTo>
                  <a:cubicBezTo>
                    <a:pt x="1432" y="1680"/>
                    <a:pt x="1432" y="1680"/>
                    <a:pt x="1432" y="1680"/>
                  </a:cubicBezTo>
                  <a:cubicBezTo>
                    <a:pt x="1432" y="1680"/>
                    <a:pt x="1446" y="1674"/>
                    <a:pt x="1448" y="1671"/>
                  </a:cubicBezTo>
                  <a:cubicBezTo>
                    <a:pt x="1450" y="1668"/>
                    <a:pt x="1434" y="1650"/>
                    <a:pt x="1434" y="1650"/>
                  </a:cubicBezTo>
                  <a:cubicBezTo>
                    <a:pt x="1444" y="1650"/>
                    <a:pt x="1444" y="1650"/>
                    <a:pt x="1444" y="1650"/>
                  </a:cubicBezTo>
                  <a:cubicBezTo>
                    <a:pt x="1453" y="1659"/>
                    <a:pt x="1453" y="1659"/>
                    <a:pt x="1453" y="1659"/>
                  </a:cubicBezTo>
                  <a:cubicBezTo>
                    <a:pt x="1470" y="1658"/>
                    <a:pt x="1470" y="1658"/>
                    <a:pt x="1470" y="1658"/>
                  </a:cubicBezTo>
                  <a:cubicBezTo>
                    <a:pt x="1470" y="1658"/>
                    <a:pt x="1484" y="1662"/>
                    <a:pt x="1487" y="1658"/>
                  </a:cubicBezTo>
                  <a:cubicBezTo>
                    <a:pt x="1490" y="1654"/>
                    <a:pt x="1485" y="1650"/>
                    <a:pt x="1481" y="1650"/>
                  </a:cubicBezTo>
                  <a:cubicBezTo>
                    <a:pt x="1477" y="1650"/>
                    <a:pt x="1469" y="1645"/>
                    <a:pt x="1469" y="1645"/>
                  </a:cubicBezTo>
                  <a:cubicBezTo>
                    <a:pt x="1469" y="1645"/>
                    <a:pt x="1453" y="1649"/>
                    <a:pt x="1450" y="1639"/>
                  </a:cubicBezTo>
                  <a:cubicBezTo>
                    <a:pt x="1447" y="1629"/>
                    <a:pt x="1470" y="1631"/>
                    <a:pt x="1470" y="1631"/>
                  </a:cubicBezTo>
                  <a:cubicBezTo>
                    <a:pt x="1479" y="1623"/>
                    <a:pt x="1479" y="1623"/>
                    <a:pt x="1479" y="1623"/>
                  </a:cubicBezTo>
                  <a:cubicBezTo>
                    <a:pt x="1479" y="1623"/>
                    <a:pt x="1491" y="1640"/>
                    <a:pt x="1494" y="1640"/>
                  </a:cubicBezTo>
                  <a:cubicBezTo>
                    <a:pt x="1497" y="1640"/>
                    <a:pt x="1502" y="1634"/>
                    <a:pt x="1502" y="1634"/>
                  </a:cubicBezTo>
                  <a:cubicBezTo>
                    <a:pt x="1502" y="1634"/>
                    <a:pt x="1511" y="1644"/>
                    <a:pt x="1508" y="1650"/>
                  </a:cubicBezTo>
                  <a:close/>
                  <a:moveTo>
                    <a:pt x="2251" y="1644"/>
                  </a:moveTo>
                  <a:cubicBezTo>
                    <a:pt x="2246" y="1649"/>
                    <a:pt x="2229" y="1645"/>
                    <a:pt x="2229" y="1645"/>
                  </a:cubicBezTo>
                  <a:cubicBezTo>
                    <a:pt x="2229" y="1645"/>
                    <a:pt x="2227" y="1651"/>
                    <a:pt x="2222" y="1652"/>
                  </a:cubicBezTo>
                  <a:cubicBezTo>
                    <a:pt x="2217" y="1653"/>
                    <a:pt x="2206" y="1643"/>
                    <a:pt x="2206" y="1643"/>
                  </a:cubicBezTo>
                  <a:cubicBezTo>
                    <a:pt x="2186" y="1646"/>
                    <a:pt x="2186" y="1646"/>
                    <a:pt x="2186" y="1646"/>
                  </a:cubicBezTo>
                  <a:cubicBezTo>
                    <a:pt x="2165" y="1642"/>
                    <a:pt x="2165" y="1642"/>
                    <a:pt x="2165" y="1642"/>
                  </a:cubicBezTo>
                  <a:cubicBezTo>
                    <a:pt x="2153" y="1643"/>
                    <a:pt x="2153" y="1643"/>
                    <a:pt x="2153" y="1643"/>
                  </a:cubicBezTo>
                  <a:cubicBezTo>
                    <a:pt x="2136" y="1638"/>
                    <a:pt x="2136" y="1638"/>
                    <a:pt x="2136" y="1638"/>
                  </a:cubicBezTo>
                  <a:cubicBezTo>
                    <a:pt x="2136" y="1638"/>
                    <a:pt x="2125" y="1639"/>
                    <a:pt x="2112" y="1639"/>
                  </a:cubicBezTo>
                  <a:cubicBezTo>
                    <a:pt x="2099" y="1639"/>
                    <a:pt x="2102" y="1633"/>
                    <a:pt x="2102" y="1633"/>
                  </a:cubicBezTo>
                  <a:cubicBezTo>
                    <a:pt x="2102" y="1633"/>
                    <a:pt x="2094" y="1641"/>
                    <a:pt x="2088" y="1643"/>
                  </a:cubicBezTo>
                  <a:cubicBezTo>
                    <a:pt x="2082" y="1645"/>
                    <a:pt x="2081" y="1655"/>
                    <a:pt x="2075" y="1663"/>
                  </a:cubicBezTo>
                  <a:cubicBezTo>
                    <a:pt x="2069" y="1671"/>
                    <a:pt x="2061" y="1668"/>
                    <a:pt x="2061" y="1668"/>
                  </a:cubicBezTo>
                  <a:cubicBezTo>
                    <a:pt x="2065" y="1686"/>
                    <a:pt x="2065" y="1686"/>
                    <a:pt x="2065" y="1686"/>
                  </a:cubicBezTo>
                  <a:cubicBezTo>
                    <a:pt x="2057" y="1693"/>
                    <a:pt x="2057" y="1693"/>
                    <a:pt x="2057" y="1693"/>
                  </a:cubicBezTo>
                  <a:cubicBezTo>
                    <a:pt x="2067" y="1704"/>
                    <a:pt x="2067" y="1704"/>
                    <a:pt x="2067" y="1704"/>
                  </a:cubicBezTo>
                  <a:cubicBezTo>
                    <a:pt x="2066" y="1721"/>
                    <a:pt x="2066" y="1721"/>
                    <a:pt x="2066" y="1721"/>
                  </a:cubicBezTo>
                  <a:cubicBezTo>
                    <a:pt x="2062" y="1720"/>
                    <a:pt x="2033" y="1686"/>
                    <a:pt x="2033" y="1686"/>
                  </a:cubicBezTo>
                  <a:cubicBezTo>
                    <a:pt x="2033" y="1686"/>
                    <a:pt x="2029" y="1671"/>
                    <a:pt x="2029" y="1660"/>
                  </a:cubicBezTo>
                  <a:cubicBezTo>
                    <a:pt x="2029" y="1649"/>
                    <a:pt x="2047" y="1646"/>
                    <a:pt x="2051" y="1645"/>
                  </a:cubicBezTo>
                  <a:cubicBezTo>
                    <a:pt x="2055" y="1644"/>
                    <a:pt x="2053" y="1633"/>
                    <a:pt x="2059" y="1627"/>
                  </a:cubicBezTo>
                  <a:cubicBezTo>
                    <a:pt x="2065" y="1621"/>
                    <a:pt x="2090" y="1627"/>
                    <a:pt x="2094" y="1627"/>
                  </a:cubicBezTo>
                  <a:cubicBezTo>
                    <a:pt x="2098" y="1627"/>
                    <a:pt x="2106" y="1621"/>
                    <a:pt x="2119" y="1622"/>
                  </a:cubicBezTo>
                  <a:cubicBezTo>
                    <a:pt x="2132" y="1623"/>
                    <a:pt x="2140" y="1630"/>
                    <a:pt x="2147" y="1631"/>
                  </a:cubicBezTo>
                  <a:cubicBezTo>
                    <a:pt x="2154" y="1632"/>
                    <a:pt x="2159" y="1635"/>
                    <a:pt x="2172" y="1637"/>
                  </a:cubicBezTo>
                  <a:cubicBezTo>
                    <a:pt x="2185" y="1639"/>
                    <a:pt x="2181" y="1628"/>
                    <a:pt x="2194" y="1628"/>
                  </a:cubicBezTo>
                  <a:cubicBezTo>
                    <a:pt x="2207" y="1628"/>
                    <a:pt x="2226" y="1633"/>
                    <a:pt x="2226" y="1633"/>
                  </a:cubicBezTo>
                  <a:cubicBezTo>
                    <a:pt x="2226" y="1633"/>
                    <a:pt x="2236" y="1624"/>
                    <a:pt x="2250" y="1622"/>
                  </a:cubicBezTo>
                  <a:cubicBezTo>
                    <a:pt x="2264" y="1620"/>
                    <a:pt x="2256" y="1639"/>
                    <a:pt x="2251" y="1644"/>
                  </a:cubicBezTo>
                  <a:close/>
                  <a:moveTo>
                    <a:pt x="3303" y="1288"/>
                  </a:moveTo>
                  <a:cubicBezTo>
                    <a:pt x="3303" y="1288"/>
                    <a:pt x="3300" y="1302"/>
                    <a:pt x="3299" y="1305"/>
                  </a:cubicBezTo>
                  <a:cubicBezTo>
                    <a:pt x="3298" y="1308"/>
                    <a:pt x="3285" y="1315"/>
                    <a:pt x="3285" y="1315"/>
                  </a:cubicBezTo>
                  <a:cubicBezTo>
                    <a:pt x="3285" y="1315"/>
                    <a:pt x="3273" y="1321"/>
                    <a:pt x="3269" y="1321"/>
                  </a:cubicBezTo>
                  <a:cubicBezTo>
                    <a:pt x="3264" y="1321"/>
                    <a:pt x="3265" y="1333"/>
                    <a:pt x="3265" y="1333"/>
                  </a:cubicBezTo>
                  <a:cubicBezTo>
                    <a:pt x="3265" y="1333"/>
                    <a:pt x="3263" y="1326"/>
                    <a:pt x="3243" y="1333"/>
                  </a:cubicBezTo>
                  <a:cubicBezTo>
                    <a:pt x="3222" y="1339"/>
                    <a:pt x="3251" y="1349"/>
                    <a:pt x="3251" y="1349"/>
                  </a:cubicBezTo>
                  <a:cubicBezTo>
                    <a:pt x="3251" y="1349"/>
                    <a:pt x="3241" y="1357"/>
                    <a:pt x="3239" y="1366"/>
                  </a:cubicBezTo>
                  <a:cubicBezTo>
                    <a:pt x="3238" y="1376"/>
                    <a:pt x="3223" y="1367"/>
                    <a:pt x="3223" y="1367"/>
                  </a:cubicBezTo>
                  <a:cubicBezTo>
                    <a:pt x="3223" y="1367"/>
                    <a:pt x="3220" y="1381"/>
                    <a:pt x="3200" y="1381"/>
                  </a:cubicBezTo>
                  <a:cubicBezTo>
                    <a:pt x="3179" y="1381"/>
                    <a:pt x="3180" y="1376"/>
                    <a:pt x="3180" y="1376"/>
                  </a:cubicBezTo>
                  <a:cubicBezTo>
                    <a:pt x="3157" y="1370"/>
                    <a:pt x="3157" y="1370"/>
                    <a:pt x="3157" y="1370"/>
                  </a:cubicBezTo>
                  <a:cubicBezTo>
                    <a:pt x="3168" y="1364"/>
                    <a:pt x="3168" y="1364"/>
                    <a:pt x="3168" y="1364"/>
                  </a:cubicBezTo>
                  <a:cubicBezTo>
                    <a:pt x="3190" y="1364"/>
                    <a:pt x="3190" y="1364"/>
                    <a:pt x="3190" y="1364"/>
                  </a:cubicBezTo>
                  <a:cubicBezTo>
                    <a:pt x="3191" y="1359"/>
                    <a:pt x="3191" y="1359"/>
                    <a:pt x="3191" y="1359"/>
                  </a:cubicBezTo>
                  <a:cubicBezTo>
                    <a:pt x="3191" y="1359"/>
                    <a:pt x="3207" y="1359"/>
                    <a:pt x="3214" y="1352"/>
                  </a:cubicBezTo>
                  <a:cubicBezTo>
                    <a:pt x="3220" y="1346"/>
                    <a:pt x="3221" y="1327"/>
                    <a:pt x="3221" y="1327"/>
                  </a:cubicBezTo>
                  <a:cubicBezTo>
                    <a:pt x="3221" y="1327"/>
                    <a:pt x="3225" y="1326"/>
                    <a:pt x="3234" y="1324"/>
                  </a:cubicBezTo>
                  <a:cubicBezTo>
                    <a:pt x="3243" y="1322"/>
                    <a:pt x="3243" y="1306"/>
                    <a:pt x="3243" y="1306"/>
                  </a:cubicBezTo>
                  <a:cubicBezTo>
                    <a:pt x="3243" y="1306"/>
                    <a:pt x="3236" y="1302"/>
                    <a:pt x="3237" y="1296"/>
                  </a:cubicBezTo>
                  <a:cubicBezTo>
                    <a:pt x="3238" y="1291"/>
                    <a:pt x="3257" y="1274"/>
                    <a:pt x="3257" y="1274"/>
                  </a:cubicBezTo>
                  <a:cubicBezTo>
                    <a:pt x="3257" y="1263"/>
                    <a:pt x="3257" y="1263"/>
                    <a:pt x="3257" y="1263"/>
                  </a:cubicBezTo>
                  <a:cubicBezTo>
                    <a:pt x="3271" y="1250"/>
                    <a:pt x="3271" y="1250"/>
                    <a:pt x="3271" y="1250"/>
                  </a:cubicBezTo>
                  <a:cubicBezTo>
                    <a:pt x="3263" y="1239"/>
                    <a:pt x="3263" y="1239"/>
                    <a:pt x="3263" y="1239"/>
                  </a:cubicBezTo>
                  <a:cubicBezTo>
                    <a:pt x="3262" y="1186"/>
                    <a:pt x="3262" y="1186"/>
                    <a:pt x="3262" y="1186"/>
                  </a:cubicBezTo>
                  <a:cubicBezTo>
                    <a:pt x="3262" y="1186"/>
                    <a:pt x="3247" y="1164"/>
                    <a:pt x="3265" y="1159"/>
                  </a:cubicBezTo>
                  <a:cubicBezTo>
                    <a:pt x="3284" y="1155"/>
                    <a:pt x="3280" y="1180"/>
                    <a:pt x="3280" y="1180"/>
                  </a:cubicBezTo>
                  <a:cubicBezTo>
                    <a:pt x="3280" y="1180"/>
                    <a:pt x="3289" y="1187"/>
                    <a:pt x="3293" y="1202"/>
                  </a:cubicBezTo>
                  <a:cubicBezTo>
                    <a:pt x="3298" y="1218"/>
                    <a:pt x="3300" y="1228"/>
                    <a:pt x="3300" y="1228"/>
                  </a:cubicBezTo>
                  <a:cubicBezTo>
                    <a:pt x="3314" y="1247"/>
                    <a:pt x="3314" y="1247"/>
                    <a:pt x="3314" y="1247"/>
                  </a:cubicBezTo>
                  <a:cubicBezTo>
                    <a:pt x="3308" y="1258"/>
                    <a:pt x="3308" y="1258"/>
                    <a:pt x="3308" y="1258"/>
                  </a:cubicBezTo>
                  <a:cubicBezTo>
                    <a:pt x="3308" y="1258"/>
                    <a:pt x="3295" y="1264"/>
                    <a:pt x="3297" y="1271"/>
                  </a:cubicBezTo>
                  <a:cubicBezTo>
                    <a:pt x="3298" y="1279"/>
                    <a:pt x="3314" y="1270"/>
                    <a:pt x="3314" y="1270"/>
                  </a:cubicBezTo>
                  <a:cubicBezTo>
                    <a:pt x="3316" y="1281"/>
                    <a:pt x="3316" y="1281"/>
                    <a:pt x="3316" y="1281"/>
                  </a:cubicBezTo>
                  <a:lnTo>
                    <a:pt x="3303" y="1288"/>
                  </a:lnTo>
                  <a:close/>
                  <a:moveTo>
                    <a:pt x="5273" y="1660"/>
                  </a:moveTo>
                  <a:cubicBezTo>
                    <a:pt x="5264" y="1658"/>
                    <a:pt x="5254" y="1682"/>
                    <a:pt x="5262" y="1685"/>
                  </a:cubicBezTo>
                  <a:cubicBezTo>
                    <a:pt x="5273" y="1689"/>
                    <a:pt x="5283" y="1663"/>
                    <a:pt x="5273" y="1660"/>
                  </a:cubicBezTo>
                  <a:close/>
                  <a:moveTo>
                    <a:pt x="4820" y="2491"/>
                  </a:moveTo>
                  <a:cubicBezTo>
                    <a:pt x="4820" y="2495"/>
                    <a:pt x="4807" y="2501"/>
                    <a:pt x="4807" y="2501"/>
                  </a:cubicBezTo>
                  <a:cubicBezTo>
                    <a:pt x="4824" y="2510"/>
                    <a:pt x="4824" y="2510"/>
                    <a:pt x="4824" y="2510"/>
                  </a:cubicBezTo>
                  <a:cubicBezTo>
                    <a:pt x="4824" y="2510"/>
                    <a:pt x="4820" y="2487"/>
                    <a:pt x="4820" y="2491"/>
                  </a:cubicBezTo>
                  <a:close/>
                  <a:moveTo>
                    <a:pt x="4831" y="2390"/>
                  </a:moveTo>
                  <a:cubicBezTo>
                    <a:pt x="4831" y="2379"/>
                    <a:pt x="4846" y="2370"/>
                    <a:pt x="4846" y="2370"/>
                  </a:cubicBezTo>
                  <a:cubicBezTo>
                    <a:pt x="4845" y="2358"/>
                    <a:pt x="4822" y="2343"/>
                    <a:pt x="4822" y="2343"/>
                  </a:cubicBezTo>
                  <a:cubicBezTo>
                    <a:pt x="4822" y="2343"/>
                    <a:pt x="4821" y="2333"/>
                    <a:pt x="4814" y="2330"/>
                  </a:cubicBezTo>
                  <a:cubicBezTo>
                    <a:pt x="4807" y="2327"/>
                    <a:pt x="4802" y="2329"/>
                    <a:pt x="4802" y="2329"/>
                  </a:cubicBezTo>
                  <a:cubicBezTo>
                    <a:pt x="4802" y="2329"/>
                    <a:pt x="4781" y="2315"/>
                    <a:pt x="4774" y="2315"/>
                  </a:cubicBezTo>
                  <a:cubicBezTo>
                    <a:pt x="4767" y="2315"/>
                    <a:pt x="4758" y="2327"/>
                    <a:pt x="4758" y="2327"/>
                  </a:cubicBezTo>
                  <a:cubicBezTo>
                    <a:pt x="4733" y="2341"/>
                    <a:pt x="4733" y="2341"/>
                    <a:pt x="4733" y="2341"/>
                  </a:cubicBezTo>
                  <a:cubicBezTo>
                    <a:pt x="4752" y="2374"/>
                    <a:pt x="4752" y="2374"/>
                    <a:pt x="4752" y="2374"/>
                  </a:cubicBezTo>
                  <a:cubicBezTo>
                    <a:pt x="4764" y="2368"/>
                    <a:pt x="4764" y="2368"/>
                    <a:pt x="4764" y="2368"/>
                  </a:cubicBezTo>
                  <a:cubicBezTo>
                    <a:pt x="4764" y="2368"/>
                    <a:pt x="4757" y="2349"/>
                    <a:pt x="4765" y="2353"/>
                  </a:cubicBezTo>
                  <a:cubicBezTo>
                    <a:pt x="4773" y="2357"/>
                    <a:pt x="4785" y="2378"/>
                    <a:pt x="4785" y="2378"/>
                  </a:cubicBezTo>
                  <a:cubicBezTo>
                    <a:pt x="4784" y="2403"/>
                    <a:pt x="4784" y="2403"/>
                    <a:pt x="4784" y="2403"/>
                  </a:cubicBezTo>
                  <a:cubicBezTo>
                    <a:pt x="4772" y="2408"/>
                    <a:pt x="4772" y="2408"/>
                    <a:pt x="4772" y="2408"/>
                  </a:cubicBezTo>
                  <a:cubicBezTo>
                    <a:pt x="4772" y="2408"/>
                    <a:pt x="4783" y="2455"/>
                    <a:pt x="4793" y="2457"/>
                  </a:cubicBezTo>
                  <a:cubicBezTo>
                    <a:pt x="4803" y="2459"/>
                    <a:pt x="4801" y="2427"/>
                    <a:pt x="4801" y="2427"/>
                  </a:cubicBezTo>
                  <a:cubicBezTo>
                    <a:pt x="4822" y="2434"/>
                    <a:pt x="4822" y="2434"/>
                    <a:pt x="4822" y="2434"/>
                  </a:cubicBezTo>
                  <a:cubicBezTo>
                    <a:pt x="4822" y="2434"/>
                    <a:pt x="4819" y="2461"/>
                    <a:pt x="4823" y="2461"/>
                  </a:cubicBezTo>
                  <a:cubicBezTo>
                    <a:pt x="4827" y="2461"/>
                    <a:pt x="4841" y="2437"/>
                    <a:pt x="4841" y="2437"/>
                  </a:cubicBezTo>
                  <a:cubicBezTo>
                    <a:pt x="4841" y="2437"/>
                    <a:pt x="4831" y="2401"/>
                    <a:pt x="4831" y="2390"/>
                  </a:cubicBezTo>
                  <a:close/>
                  <a:moveTo>
                    <a:pt x="4773" y="2374"/>
                  </a:moveTo>
                  <a:cubicBezTo>
                    <a:pt x="4762" y="2399"/>
                    <a:pt x="4762" y="2399"/>
                    <a:pt x="4762" y="2399"/>
                  </a:cubicBezTo>
                  <a:cubicBezTo>
                    <a:pt x="4774" y="2396"/>
                    <a:pt x="4774" y="2396"/>
                    <a:pt x="4774" y="2396"/>
                  </a:cubicBezTo>
                  <a:lnTo>
                    <a:pt x="4773" y="2374"/>
                  </a:lnTo>
                  <a:close/>
                  <a:moveTo>
                    <a:pt x="4774" y="2689"/>
                  </a:moveTo>
                  <a:cubicBezTo>
                    <a:pt x="4764" y="2699"/>
                    <a:pt x="4755" y="2731"/>
                    <a:pt x="4755" y="2731"/>
                  </a:cubicBezTo>
                  <a:cubicBezTo>
                    <a:pt x="4768" y="2734"/>
                    <a:pt x="4768" y="2734"/>
                    <a:pt x="4768" y="2734"/>
                  </a:cubicBezTo>
                  <a:cubicBezTo>
                    <a:pt x="4768" y="2734"/>
                    <a:pt x="4780" y="2713"/>
                    <a:pt x="4776" y="2713"/>
                  </a:cubicBezTo>
                  <a:cubicBezTo>
                    <a:pt x="4772" y="2713"/>
                    <a:pt x="4788" y="2695"/>
                    <a:pt x="4788" y="2695"/>
                  </a:cubicBezTo>
                  <a:cubicBezTo>
                    <a:pt x="4788" y="2695"/>
                    <a:pt x="4783" y="2678"/>
                    <a:pt x="4774" y="2689"/>
                  </a:cubicBezTo>
                  <a:close/>
                  <a:moveTo>
                    <a:pt x="4804" y="2637"/>
                  </a:moveTo>
                  <a:cubicBezTo>
                    <a:pt x="4794" y="2633"/>
                    <a:pt x="4795" y="2642"/>
                    <a:pt x="4795" y="2642"/>
                  </a:cubicBezTo>
                  <a:cubicBezTo>
                    <a:pt x="4810" y="2649"/>
                    <a:pt x="4815" y="2641"/>
                    <a:pt x="4804" y="2637"/>
                  </a:cubicBezTo>
                  <a:close/>
                  <a:moveTo>
                    <a:pt x="4662" y="1274"/>
                  </a:moveTo>
                  <a:cubicBezTo>
                    <a:pt x="4657" y="1276"/>
                    <a:pt x="4644" y="1261"/>
                    <a:pt x="4642" y="1276"/>
                  </a:cubicBezTo>
                  <a:cubicBezTo>
                    <a:pt x="4639" y="1292"/>
                    <a:pt x="4668" y="1321"/>
                    <a:pt x="4668" y="1321"/>
                  </a:cubicBezTo>
                  <a:cubicBezTo>
                    <a:pt x="4668" y="1321"/>
                    <a:pt x="4675" y="1339"/>
                    <a:pt x="4682" y="1346"/>
                  </a:cubicBezTo>
                  <a:cubicBezTo>
                    <a:pt x="4689" y="1353"/>
                    <a:pt x="4736" y="1383"/>
                    <a:pt x="4747" y="1397"/>
                  </a:cubicBezTo>
                  <a:cubicBezTo>
                    <a:pt x="4758" y="1411"/>
                    <a:pt x="4757" y="1433"/>
                    <a:pt x="4770" y="1444"/>
                  </a:cubicBezTo>
                  <a:cubicBezTo>
                    <a:pt x="4784" y="1455"/>
                    <a:pt x="4816" y="1511"/>
                    <a:pt x="4816" y="1511"/>
                  </a:cubicBezTo>
                  <a:cubicBezTo>
                    <a:pt x="4816" y="1511"/>
                    <a:pt x="4822" y="1534"/>
                    <a:pt x="4829" y="1534"/>
                  </a:cubicBezTo>
                  <a:cubicBezTo>
                    <a:pt x="4836" y="1534"/>
                    <a:pt x="4849" y="1544"/>
                    <a:pt x="4856" y="1554"/>
                  </a:cubicBezTo>
                  <a:cubicBezTo>
                    <a:pt x="4863" y="1563"/>
                    <a:pt x="4863" y="1583"/>
                    <a:pt x="4863" y="1583"/>
                  </a:cubicBezTo>
                  <a:cubicBezTo>
                    <a:pt x="4891" y="1606"/>
                    <a:pt x="4891" y="1606"/>
                    <a:pt x="4891" y="1606"/>
                  </a:cubicBezTo>
                  <a:cubicBezTo>
                    <a:pt x="4901" y="1642"/>
                    <a:pt x="4901" y="1642"/>
                    <a:pt x="4901" y="1642"/>
                  </a:cubicBezTo>
                  <a:cubicBezTo>
                    <a:pt x="4927" y="1670"/>
                    <a:pt x="4927" y="1670"/>
                    <a:pt x="4927" y="1670"/>
                  </a:cubicBezTo>
                  <a:cubicBezTo>
                    <a:pt x="4927" y="1670"/>
                    <a:pt x="4913" y="1631"/>
                    <a:pt x="4922" y="1628"/>
                  </a:cubicBezTo>
                  <a:cubicBezTo>
                    <a:pt x="4930" y="1626"/>
                    <a:pt x="4934" y="1635"/>
                    <a:pt x="4934" y="1635"/>
                  </a:cubicBezTo>
                  <a:cubicBezTo>
                    <a:pt x="4955" y="1635"/>
                    <a:pt x="4955" y="1635"/>
                    <a:pt x="4955" y="1635"/>
                  </a:cubicBezTo>
                  <a:cubicBezTo>
                    <a:pt x="4977" y="1662"/>
                    <a:pt x="4977" y="1662"/>
                    <a:pt x="4977" y="1662"/>
                  </a:cubicBezTo>
                  <a:cubicBezTo>
                    <a:pt x="4978" y="1645"/>
                    <a:pt x="4978" y="1645"/>
                    <a:pt x="4978" y="1645"/>
                  </a:cubicBezTo>
                  <a:cubicBezTo>
                    <a:pt x="4958" y="1620"/>
                    <a:pt x="4958" y="1620"/>
                    <a:pt x="4958" y="1620"/>
                  </a:cubicBezTo>
                  <a:cubicBezTo>
                    <a:pt x="4942" y="1621"/>
                    <a:pt x="4942" y="1621"/>
                    <a:pt x="4942" y="1621"/>
                  </a:cubicBezTo>
                  <a:cubicBezTo>
                    <a:pt x="4920" y="1598"/>
                    <a:pt x="4920" y="1598"/>
                    <a:pt x="4920" y="1598"/>
                  </a:cubicBezTo>
                  <a:cubicBezTo>
                    <a:pt x="4920" y="1598"/>
                    <a:pt x="4898" y="1592"/>
                    <a:pt x="4885" y="1574"/>
                  </a:cubicBezTo>
                  <a:cubicBezTo>
                    <a:pt x="4873" y="1556"/>
                    <a:pt x="4865" y="1515"/>
                    <a:pt x="4865" y="1515"/>
                  </a:cubicBezTo>
                  <a:cubicBezTo>
                    <a:pt x="4865" y="1515"/>
                    <a:pt x="4841" y="1501"/>
                    <a:pt x="4854" y="1494"/>
                  </a:cubicBezTo>
                  <a:cubicBezTo>
                    <a:pt x="4866" y="1487"/>
                    <a:pt x="4942" y="1525"/>
                    <a:pt x="4942" y="1525"/>
                  </a:cubicBezTo>
                  <a:cubicBezTo>
                    <a:pt x="4892" y="1488"/>
                    <a:pt x="4892" y="1488"/>
                    <a:pt x="4892" y="1488"/>
                  </a:cubicBezTo>
                  <a:cubicBezTo>
                    <a:pt x="4892" y="1488"/>
                    <a:pt x="4873" y="1458"/>
                    <a:pt x="4863" y="1451"/>
                  </a:cubicBezTo>
                  <a:cubicBezTo>
                    <a:pt x="4854" y="1444"/>
                    <a:pt x="4838" y="1434"/>
                    <a:pt x="4838" y="1434"/>
                  </a:cubicBezTo>
                  <a:cubicBezTo>
                    <a:pt x="4786" y="1378"/>
                    <a:pt x="4786" y="1378"/>
                    <a:pt x="4786" y="1378"/>
                  </a:cubicBezTo>
                  <a:cubicBezTo>
                    <a:pt x="4769" y="1379"/>
                    <a:pt x="4769" y="1379"/>
                    <a:pt x="4769" y="1379"/>
                  </a:cubicBezTo>
                  <a:cubicBezTo>
                    <a:pt x="4762" y="1360"/>
                    <a:pt x="4762" y="1360"/>
                    <a:pt x="4762" y="1360"/>
                  </a:cubicBezTo>
                  <a:cubicBezTo>
                    <a:pt x="4762" y="1360"/>
                    <a:pt x="4752" y="1362"/>
                    <a:pt x="4740" y="1350"/>
                  </a:cubicBezTo>
                  <a:cubicBezTo>
                    <a:pt x="4728" y="1337"/>
                    <a:pt x="4732" y="1321"/>
                    <a:pt x="4732" y="1321"/>
                  </a:cubicBezTo>
                  <a:cubicBezTo>
                    <a:pt x="4712" y="1296"/>
                    <a:pt x="4712" y="1296"/>
                    <a:pt x="4712" y="1296"/>
                  </a:cubicBezTo>
                  <a:cubicBezTo>
                    <a:pt x="4698" y="1297"/>
                    <a:pt x="4698" y="1297"/>
                    <a:pt x="4698" y="1297"/>
                  </a:cubicBezTo>
                  <a:cubicBezTo>
                    <a:pt x="4689" y="1278"/>
                    <a:pt x="4689" y="1278"/>
                    <a:pt x="4689" y="1278"/>
                  </a:cubicBezTo>
                  <a:cubicBezTo>
                    <a:pt x="4662" y="1258"/>
                    <a:pt x="4662" y="1258"/>
                    <a:pt x="4662" y="1258"/>
                  </a:cubicBezTo>
                  <a:cubicBezTo>
                    <a:pt x="4654" y="1242"/>
                    <a:pt x="4654" y="1242"/>
                    <a:pt x="4654" y="1242"/>
                  </a:cubicBezTo>
                  <a:cubicBezTo>
                    <a:pt x="4654" y="1242"/>
                    <a:pt x="4636" y="1229"/>
                    <a:pt x="4629" y="1234"/>
                  </a:cubicBezTo>
                  <a:cubicBezTo>
                    <a:pt x="4622" y="1238"/>
                    <a:pt x="4668" y="1271"/>
                    <a:pt x="4662" y="1274"/>
                  </a:cubicBezTo>
                  <a:close/>
                  <a:moveTo>
                    <a:pt x="4784" y="2665"/>
                  </a:moveTo>
                  <a:cubicBezTo>
                    <a:pt x="4799" y="2665"/>
                    <a:pt x="4799" y="2665"/>
                    <a:pt x="4799" y="2665"/>
                  </a:cubicBezTo>
                  <a:cubicBezTo>
                    <a:pt x="4782" y="2653"/>
                    <a:pt x="4782" y="2653"/>
                    <a:pt x="4782" y="2653"/>
                  </a:cubicBezTo>
                  <a:lnTo>
                    <a:pt x="4784" y="2665"/>
                  </a:lnTo>
                  <a:close/>
                  <a:moveTo>
                    <a:pt x="4798" y="2614"/>
                  </a:moveTo>
                  <a:cubicBezTo>
                    <a:pt x="4800" y="2623"/>
                    <a:pt x="4804" y="2623"/>
                    <a:pt x="4804" y="2623"/>
                  </a:cubicBezTo>
                  <a:cubicBezTo>
                    <a:pt x="4814" y="2625"/>
                    <a:pt x="4815" y="2615"/>
                    <a:pt x="4815" y="2615"/>
                  </a:cubicBezTo>
                  <a:cubicBezTo>
                    <a:pt x="4815" y="2615"/>
                    <a:pt x="4830" y="2614"/>
                    <a:pt x="4823" y="2603"/>
                  </a:cubicBezTo>
                  <a:cubicBezTo>
                    <a:pt x="4816" y="2593"/>
                    <a:pt x="4795" y="2605"/>
                    <a:pt x="4798" y="2614"/>
                  </a:cubicBezTo>
                  <a:close/>
                  <a:moveTo>
                    <a:pt x="5150" y="2180"/>
                  </a:moveTo>
                  <a:cubicBezTo>
                    <a:pt x="5151" y="2166"/>
                    <a:pt x="5152" y="2140"/>
                    <a:pt x="5146" y="2128"/>
                  </a:cubicBezTo>
                  <a:cubicBezTo>
                    <a:pt x="5140" y="2116"/>
                    <a:pt x="5116" y="2099"/>
                    <a:pt x="5119" y="2082"/>
                  </a:cubicBezTo>
                  <a:cubicBezTo>
                    <a:pt x="5122" y="2065"/>
                    <a:pt x="5138" y="2070"/>
                    <a:pt x="5138" y="2070"/>
                  </a:cubicBezTo>
                  <a:cubicBezTo>
                    <a:pt x="5135" y="2043"/>
                    <a:pt x="5135" y="2043"/>
                    <a:pt x="5135" y="2043"/>
                  </a:cubicBezTo>
                  <a:cubicBezTo>
                    <a:pt x="5127" y="2037"/>
                    <a:pt x="5127" y="2037"/>
                    <a:pt x="5127" y="2037"/>
                  </a:cubicBezTo>
                  <a:cubicBezTo>
                    <a:pt x="5137" y="2030"/>
                    <a:pt x="5137" y="2030"/>
                    <a:pt x="5137" y="2030"/>
                  </a:cubicBezTo>
                  <a:cubicBezTo>
                    <a:pt x="5137" y="2030"/>
                    <a:pt x="5132" y="2012"/>
                    <a:pt x="5128" y="2002"/>
                  </a:cubicBezTo>
                  <a:cubicBezTo>
                    <a:pt x="5124" y="1992"/>
                    <a:pt x="5110" y="1984"/>
                    <a:pt x="5110" y="1984"/>
                  </a:cubicBezTo>
                  <a:cubicBezTo>
                    <a:pt x="5106" y="1971"/>
                    <a:pt x="5106" y="1971"/>
                    <a:pt x="5106" y="1971"/>
                  </a:cubicBezTo>
                  <a:cubicBezTo>
                    <a:pt x="5106" y="1971"/>
                    <a:pt x="5091" y="1964"/>
                    <a:pt x="5082" y="1957"/>
                  </a:cubicBezTo>
                  <a:cubicBezTo>
                    <a:pt x="5073" y="1950"/>
                    <a:pt x="5058" y="1934"/>
                    <a:pt x="5058" y="1925"/>
                  </a:cubicBezTo>
                  <a:cubicBezTo>
                    <a:pt x="5058" y="1916"/>
                    <a:pt x="5055" y="1912"/>
                    <a:pt x="5055" y="1912"/>
                  </a:cubicBezTo>
                  <a:cubicBezTo>
                    <a:pt x="5055" y="1912"/>
                    <a:pt x="5032" y="1895"/>
                    <a:pt x="5029" y="1907"/>
                  </a:cubicBezTo>
                  <a:cubicBezTo>
                    <a:pt x="5026" y="1919"/>
                    <a:pt x="5038" y="1922"/>
                    <a:pt x="5038" y="1922"/>
                  </a:cubicBezTo>
                  <a:cubicBezTo>
                    <a:pt x="5045" y="1918"/>
                    <a:pt x="5045" y="1918"/>
                    <a:pt x="5045" y="1918"/>
                  </a:cubicBezTo>
                  <a:cubicBezTo>
                    <a:pt x="5045" y="1918"/>
                    <a:pt x="5053" y="1937"/>
                    <a:pt x="5049" y="1937"/>
                  </a:cubicBezTo>
                  <a:cubicBezTo>
                    <a:pt x="5045" y="1937"/>
                    <a:pt x="5040" y="1930"/>
                    <a:pt x="5040" y="1930"/>
                  </a:cubicBezTo>
                  <a:cubicBezTo>
                    <a:pt x="5031" y="1939"/>
                    <a:pt x="5031" y="1939"/>
                    <a:pt x="5031" y="1939"/>
                  </a:cubicBezTo>
                  <a:cubicBezTo>
                    <a:pt x="5018" y="1918"/>
                    <a:pt x="5018" y="1918"/>
                    <a:pt x="5018" y="1918"/>
                  </a:cubicBezTo>
                  <a:cubicBezTo>
                    <a:pt x="5006" y="1918"/>
                    <a:pt x="5006" y="1918"/>
                    <a:pt x="5006" y="1918"/>
                  </a:cubicBezTo>
                  <a:cubicBezTo>
                    <a:pt x="5020" y="1942"/>
                    <a:pt x="5020" y="1942"/>
                    <a:pt x="5020" y="1942"/>
                  </a:cubicBezTo>
                  <a:cubicBezTo>
                    <a:pt x="5008" y="1945"/>
                    <a:pt x="5008" y="1945"/>
                    <a:pt x="5008" y="1945"/>
                  </a:cubicBezTo>
                  <a:cubicBezTo>
                    <a:pt x="5027" y="1977"/>
                    <a:pt x="5027" y="1977"/>
                    <a:pt x="5027" y="1977"/>
                  </a:cubicBezTo>
                  <a:cubicBezTo>
                    <a:pt x="5020" y="1985"/>
                    <a:pt x="5020" y="1985"/>
                    <a:pt x="5020" y="1985"/>
                  </a:cubicBezTo>
                  <a:cubicBezTo>
                    <a:pt x="5020" y="1985"/>
                    <a:pt x="5056" y="2003"/>
                    <a:pt x="5054" y="2018"/>
                  </a:cubicBezTo>
                  <a:cubicBezTo>
                    <a:pt x="5052" y="2033"/>
                    <a:pt x="5046" y="2054"/>
                    <a:pt x="5046" y="2054"/>
                  </a:cubicBezTo>
                  <a:cubicBezTo>
                    <a:pt x="5044" y="2072"/>
                    <a:pt x="5044" y="2072"/>
                    <a:pt x="5044" y="2072"/>
                  </a:cubicBezTo>
                  <a:cubicBezTo>
                    <a:pt x="5044" y="2072"/>
                    <a:pt x="5065" y="2085"/>
                    <a:pt x="5055" y="2092"/>
                  </a:cubicBezTo>
                  <a:cubicBezTo>
                    <a:pt x="5045" y="2099"/>
                    <a:pt x="5037" y="2095"/>
                    <a:pt x="5037" y="2095"/>
                  </a:cubicBezTo>
                  <a:cubicBezTo>
                    <a:pt x="5037" y="2095"/>
                    <a:pt x="5044" y="2125"/>
                    <a:pt x="5033" y="2131"/>
                  </a:cubicBezTo>
                  <a:cubicBezTo>
                    <a:pt x="5022" y="2137"/>
                    <a:pt x="4999" y="2145"/>
                    <a:pt x="4999" y="2145"/>
                  </a:cubicBezTo>
                  <a:cubicBezTo>
                    <a:pt x="4999" y="2154"/>
                    <a:pt x="4999" y="2154"/>
                    <a:pt x="4999" y="2154"/>
                  </a:cubicBezTo>
                  <a:cubicBezTo>
                    <a:pt x="4999" y="2154"/>
                    <a:pt x="4988" y="2158"/>
                    <a:pt x="4979" y="2148"/>
                  </a:cubicBezTo>
                  <a:cubicBezTo>
                    <a:pt x="4970" y="2138"/>
                    <a:pt x="4973" y="2129"/>
                    <a:pt x="4973" y="2129"/>
                  </a:cubicBezTo>
                  <a:cubicBezTo>
                    <a:pt x="4976" y="2116"/>
                    <a:pt x="4976" y="2116"/>
                    <a:pt x="4976" y="2116"/>
                  </a:cubicBezTo>
                  <a:cubicBezTo>
                    <a:pt x="4976" y="2116"/>
                    <a:pt x="4950" y="2121"/>
                    <a:pt x="4954" y="2131"/>
                  </a:cubicBezTo>
                  <a:cubicBezTo>
                    <a:pt x="4958" y="2141"/>
                    <a:pt x="4971" y="2155"/>
                    <a:pt x="4969" y="2162"/>
                  </a:cubicBezTo>
                  <a:cubicBezTo>
                    <a:pt x="4967" y="2169"/>
                    <a:pt x="4953" y="2185"/>
                    <a:pt x="4957" y="2195"/>
                  </a:cubicBezTo>
                  <a:cubicBezTo>
                    <a:pt x="4961" y="2205"/>
                    <a:pt x="4974" y="2220"/>
                    <a:pt x="4964" y="2221"/>
                  </a:cubicBezTo>
                  <a:cubicBezTo>
                    <a:pt x="4954" y="2222"/>
                    <a:pt x="4928" y="2210"/>
                    <a:pt x="4919" y="2211"/>
                  </a:cubicBezTo>
                  <a:cubicBezTo>
                    <a:pt x="4910" y="2212"/>
                    <a:pt x="4871" y="2227"/>
                    <a:pt x="4868" y="2227"/>
                  </a:cubicBezTo>
                  <a:cubicBezTo>
                    <a:pt x="4865" y="2227"/>
                    <a:pt x="4849" y="2227"/>
                    <a:pt x="4849" y="2227"/>
                  </a:cubicBezTo>
                  <a:cubicBezTo>
                    <a:pt x="4841" y="2219"/>
                    <a:pt x="4841" y="2219"/>
                    <a:pt x="4841" y="2219"/>
                  </a:cubicBezTo>
                  <a:cubicBezTo>
                    <a:pt x="4819" y="2236"/>
                    <a:pt x="4819" y="2236"/>
                    <a:pt x="4819" y="2236"/>
                  </a:cubicBezTo>
                  <a:cubicBezTo>
                    <a:pt x="4819" y="2236"/>
                    <a:pt x="4792" y="2281"/>
                    <a:pt x="4788" y="2281"/>
                  </a:cubicBezTo>
                  <a:cubicBezTo>
                    <a:pt x="4784" y="2281"/>
                    <a:pt x="4769" y="2282"/>
                    <a:pt x="4769" y="2282"/>
                  </a:cubicBezTo>
                  <a:cubicBezTo>
                    <a:pt x="4769" y="2282"/>
                    <a:pt x="4774" y="2306"/>
                    <a:pt x="4781" y="2306"/>
                  </a:cubicBezTo>
                  <a:cubicBezTo>
                    <a:pt x="4788" y="2306"/>
                    <a:pt x="4800" y="2302"/>
                    <a:pt x="4800" y="2302"/>
                  </a:cubicBezTo>
                  <a:cubicBezTo>
                    <a:pt x="4800" y="2302"/>
                    <a:pt x="4819" y="2313"/>
                    <a:pt x="4824" y="2311"/>
                  </a:cubicBezTo>
                  <a:cubicBezTo>
                    <a:pt x="4829" y="2309"/>
                    <a:pt x="4831" y="2288"/>
                    <a:pt x="4831" y="2288"/>
                  </a:cubicBezTo>
                  <a:cubicBezTo>
                    <a:pt x="4846" y="2296"/>
                    <a:pt x="4846" y="2296"/>
                    <a:pt x="4846" y="2296"/>
                  </a:cubicBezTo>
                  <a:cubicBezTo>
                    <a:pt x="4846" y="2296"/>
                    <a:pt x="4880" y="2279"/>
                    <a:pt x="4885" y="2276"/>
                  </a:cubicBezTo>
                  <a:cubicBezTo>
                    <a:pt x="4890" y="2273"/>
                    <a:pt x="4903" y="2282"/>
                    <a:pt x="4911" y="2281"/>
                  </a:cubicBezTo>
                  <a:cubicBezTo>
                    <a:pt x="4919" y="2280"/>
                    <a:pt x="4904" y="2265"/>
                    <a:pt x="4921" y="2265"/>
                  </a:cubicBezTo>
                  <a:cubicBezTo>
                    <a:pt x="4938" y="2265"/>
                    <a:pt x="4942" y="2274"/>
                    <a:pt x="4942" y="2274"/>
                  </a:cubicBezTo>
                  <a:cubicBezTo>
                    <a:pt x="4942" y="2274"/>
                    <a:pt x="4962" y="2261"/>
                    <a:pt x="4966" y="2269"/>
                  </a:cubicBezTo>
                  <a:cubicBezTo>
                    <a:pt x="4970" y="2277"/>
                    <a:pt x="4957" y="2296"/>
                    <a:pt x="4957" y="2296"/>
                  </a:cubicBezTo>
                  <a:cubicBezTo>
                    <a:pt x="4957" y="2296"/>
                    <a:pt x="4977" y="2335"/>
                    <a:pt x="4997" y="2335"/>
                  </a:cubicBezTo>
                  <a:cubicBezTo>
                    <a:pt x="5017" y="2335"/>
                    <a:pt x="5015" y="2297"/>
                    <a:pt x="5015" y="2297"/>
                  </a:cubicBezTo>
                  <a:cubicBezTo>
                    <a:pt x="5037" y="2293"/>
                    <a:pt x="5037" y="2293"/>
                    <a:pt x="5037" y="2293"/>
                  </a:cubicBezTo>
                  <a:cubicBezTo>
                    <a:pt x="5037" y="2293"/>
                    <a:pt x="5020" y="2273"/>
                    <a:pt x="5017" y="2272"/>
                  </a:cubicBezTo>
                  <a:cubicBezTo>
                    <a:pt x="5014" y="2271"/>
                    <a:pt x="5005" y="2264"/>
                    <a:pt x="5005" y="2264"/>
                  </a:cubicBezTo>
                  <a:cubicBezTo>
                    <a:pt x="5016" y="2249"/>
                    <a:pt x="5016" y="2249"/>
                    <a:pt x="5016" y="2249"/>
                  </a:cubicBezTo>
                  <a:cubicBezTo>
                    <a:pt x="5025" y="2248"/>
                    <a:pt x="5019" y="2262"/>
                    <a:pt x="5029" y="2262"/>
                  </a:cubicBezTo>
                  <a:cubicBezTo>
                    <a:pt x="5039" y="2262"/>
                    <a:pt x="5042" y="2275"/>
                    <a:pt x="5042" y="2275"/>
                  </a:cubicBezTo>
                  <a:cubicBezTo>
                    <a:pt x="5054" y="2266"/>
                    <a:pt x="5054" y="2266"/>
                    <a:pt x="5054" y="2266"/>
                  </a:cubicBezTo>
                  <a:cubicBezTo>
                    <a:pt x="5054" y="2266"/>
                    <a:pt x="5069" y="2274"/>
                    <a:pt x="5084" y="2270"/>
                  </a:cubicBezTo>
                  <a:cubicBezTo>
                    <a:pt x="5099" y="2266"/>
                    <a:pt x="5081" y="2245"/>
                    <a:pt x="5098" y="2247"/>
                  </a:cubicBezTo>
                  <a:cubicBezTo>
                    <a:pt x="5115" y="2249"/>
                    <a:pt x="5106" y="2277"/>
                    <a:pt x="5117" y="2271"/>
                  </a:cubicBezTo>
                  <a:cubicBezTo>
                    <a:pt x="5128" y="2265"/>
                    <a:pt x="5110" y="2242"/>
                    <a:pt x="5118" y="2237"/>
                  </a:cubicBezTo>
                  <a:cubicBezTo>
                    <a:pt x="5126" y="2232"/>
                    <a:pt x="5131" y="2234"/>
                    <a:pt x="5131" y="2234"/>
                  </a:cubicBezTo>
                  <a:cubicBezTo>
                    <a:pt x="5131" y="2234"/>
                    <a:pt x="5133" y="2203"/>
                    <a:pt x="5145" y="2215"/>
                  </a:cubicBezTo>
                  <a:cubicBezTo>
                    <a:pt x="5157" y="2227"/>
                    <a:pt x="5138" y="2252"/>
                    <a:pt x="5158" y="2251"/>
                  </a:cubicBezTo>
                  <a:cubicBezTo>
                    <a:pt x="5178" y="2250"/>
                    <a:pt x="5168" y="2219"/>
                    <a:pt x="5168" y="2219"/>
                  </a:cubicBezTo>
                  <a:cubicBezTo>
                    <a:pt x="5181" y="2212"/>
                    <a:pt x="5181" y="2212"/>
                    <a:pt x="5181" y="2212"/>
                  </a:cubicBezTo>
                  <a:cubicBezTo>
                    <a:pt x="5181" y="2212"/>
                    <a:pt x="5149" y="2194"/>
                    <a:pt x="5150" y="2180"/>
                  </a:cubicBezTo>
                  <a:close/>
                  <a:moveTo>
                    <a:pt x="5125" y="1759"/>
                  </a:moveTo>
                  <a:cubicBezTo>
                    <a:pt x="5118" y="1753"/>
                    <a:pt x="5113" y="1777"/>
                    <a:pt x="5113" y="1777"/>
                  </a:cubicBezTo>
                  <a:cubicBezTo>
                    <a:pt x="5113" y="1777"/>
                    <a:pt x="5045" y="1761"/>
                    <a:pt x="5030" y="1750"/>
                  </a:cubicBezTo>
                  <a:cubicBezTo>
                    <a:pt x="5014" y="1739"/>
                    <a:pt x="4940" y="1681"/>
                    <a:pt x="4930" y="1692"/>
                  </a:cubicBezTo>
                  <a:cubicBezTo>
                    <a:pt x="4920" y="1703"/>
                    <a:pt x="4962" y="1738"/>
                    <a:pt x="4962" y="1738"/>
                  </a:cubicBezTo>
                  <a:cubicBezTo>
                    <a:pt x="4964" y="1753"/>
                    <a:pt x="4964" y="1753"/>
                    <a:pt x="4964" y="1753"/>
                  </a:cubicBezTo>
                  <a:cubicBezTo>
                    <a:pt x="4964" y="1753"/>
                    <a:pt x="4981" y="1764"/>
                    <a:pt x="4981" y="1771"/>
                  </a:cubicBezTo>
                  <a:cubicBezTo>
                    <a:pt x="4981" y="1778"/>
                    <a:pt x="4974" y="1791"/>
                    <a:pt x="4974" y="1791"/>
                  </a:cubicBezTo>
                  <a:cubicBezTo>
                    <a:pt x="4974" y="1791"/>
                    <a:pt x="4992" y="1813"/>
                    <a:pt x="4987" y="1814"/>
                  </a:cubicBezTo>
                  <a:cubicBezTo>
                    <a:pt x="4981" y="1815"/>
                    <a:pt x="4949" y="1806"/>
                    <a:pt x="4944" y="1804"/>
                  </a:cubicBezTo>
                  <a:cubicBezTo>
                    <a:pt x="4938" y="1803"/>
                    <a:pt x="4959" y="1824"/>
                    <a:pt x="4959" y="1824"/>
                  </a:cubicBezTo>
                  <a:cubicBezTo>
                    <a:pt x="4942" y="1842"/>
                    <a:pt x="4942" y="1842"/>
                    <a:pt x="4942" y="1842"/>
                  </a:cubicBezTo>
                  <a:cubicBezTo>
                    <a:pt x="4942" y="1842"/>
                    <a:pt x="4948" y="1854"/>
                    <a:pt x="4951" y="1860"/>
                  </a:cubicBezTo>
                  <a:cubicBezTo>
                    <a:pt x="4953" y="1865"/>
                    <a:pt x="4980" y="1879"/>
                    <a:pt x="4980" y="1879"/>
                  </a:cubicBezTo>
                  <a:cubicBezTo>
                    <a:pt x="4980" y="1879"/>
                    <a:pt x="4971" y="1912"/>
                    <a:pt x="4994" y="1911"/>
                  </a:cubicBezTo>
                  <a:cubicBezTo>
                    <a:pt x="5004" y="1910"/>
                    <a:pt x="4988" y="1892"/>
                    <a:pt x="5000" y="1892"/>
                  </a:cubicBezTo>
                  <a:cubicBezTo>
                    <a:pt x="5013" y="1892"/>
                    <a:pt x="5023" y="1892"/>
                    <a:pt x="5023" y="1892"/>
                  </a:cubicBezTo>
                  <a:cubicBezTo>
                    <a:pt x="5027" y="1886"/>
                    <a:pt x="5027" y="1886"/>
                    <a:pt x="5027" y="1886"/>
                  </a:cubicBezTo>
                  <a:cubicBezTo>
                    <a:pt x="5002" y="1870"/>
                    <a:pt x="5002" y="1870"/>
                    <a:pt x="5002" y="1870"/>
                  </a:cubicBezTo>
                  <a:cubicBezTo>
                    <a:pt x="4989" y="1870"/>
                    <a:pt x="4989" y="1870"/>
                    <a:pt x="4989" y="1870"/>
                  </a:cubicBezTo>
                  <a:cubicBezTo>
                    <a:pt x="4989" y="1870"/>
                    <a:pt x="4955" y="1857"/>
                    <a:pt x="4971" y="1850"/>
                  </a:cubicBezTo>
                  <a:cubicBezTo>
                    <a:pt x="4988" y="1843"/>
                    <a:pt x="4999" y="1860"/>
                    <a:pt x="4999" y="1860"/>
                  </a:cubicBezTo>
                  <a:cubicBezTo>
                    <a:pt x="4999" y="1860"/>
                    <a:pt x="5013" y="1849"/>
                    <a:pt x="5023" y="1847"/>
                  </a:cubicBezTo>
                  <a:cubicBezTo>
                    <a:pt x="5032" y="1846"/>
                    <a:pt x="5103" y="1883"/>
                    <a:pt x="5109" y="1879"/>
                  </a:cubicBezTo>
                  <a:cubicBezTo>
                    <a:pt x="5114" y="1875"/>
                    <a:pt x="5095" y="1836"/>
                    <a:pt x="5113" y="1829"/>
                  </a:cubicBezTo>
                  <a:cubicBezTo>
                    <a:pt x="5131" y="1822"/>
                    <a:pt x="5129" y="1838"/>
                    <a:pt x="5147" y="1828"/>
                  </a:cubicBezTo>
                  <a:cubicBezTo>
                    <a:pt x="5165" y="1818"/>
                    <a:pt x="5168" y="1811"/>
                    <a:pt x="5168" y="1811"/>
                  </a:cubicBezTo>
                  <a:cubicBezTo>
                    <a:pt x="5132" y="1788"/>
                    <a:pt x="5132" y="1788"/>
                    <a:pt x="5132" y="1788"/>
                  </a:cubicBezTo>
                  <a:cubicBezTo>
                    <a:pt x="5132" y="1788"/>
                    <a:pt x="5132" y="1764"/>
                    <a:pt x="5125" y="1759"/>
                  </a:cubicBezTo>
                  <a:close/>
                  <a:moveTo>
                    <a:pt x="4928" y="2299"/>
                  </a:moveTo>
                  <a:cubicBezTo>
                    <a:pt x="4928" y="2299"/>
                    <a:pt x="4911" y="2286"/>
                    <a:pt x="4902" y="2287"/>
                  </a:cubicBezTo>
                  <a:cubicBezTo>
                    <a:pt x="4882" y="2289"/>
                    <a:pt x="4889" y="2309"/>
                    <a:pt x="4889" y="2309"/>
                  </a:cubicBezTo>
                  <a:cubicBezTo>
                    <a:pt x="4889" y="2309"/>
                    <a:pt x="4872" y="2303"/>
                    <a:pt x="4862" y="2305"/>
                  </a:cubicBezTo>
                  <a:cubicBezTo>
                    <a:pt x="4852" y="2307"/>
                    <a:pt x="4859" y="2329"/>
                    <a:pt x="4859" y="2329"/>
                  </a:cubicBezTo>
                  <a:cubicBezTo>
                    <a:pt x="4847" y="2340"/>
                    <a:pt x="4847" y="2340"/>
                    <a:pt x="4847" y="2340"/>
                  </a:cubicBezTo>
                  <a:cubicBezTo>
                    <a:pt x="4847" y="2340"/>
                    <a:pt x="4860" y="2348"/>
                    <a:pt x="4866" y="2355"/>
                  </a:cubicBezTo>
                  <a:cubicBezTo>
                    <a:pt x="4872" y="2362"/>
                    <a:pt x="4895" y="2376"/>
                    <a:pt x="4895" y="2376"/>
                  </a:cubicBezTo>
                  <a:cubicBezTo>
                    <a:pt x="4895" y="2376"/>
                    <a:pt x="4889" y="2345"/>
                    <a:pt x="4904" y="2335"/>
                  </a:cubicBezTo>
                  <a:cubicBezTo>
                    <a:pt x="4919" y="2325"/>
                    <a:pt x="4941" y="2353"/>
                    <a:pt x="4941" y="2353"/>
                  </a:cubicBezTo>
                  <a:cubicBezTo>
                    <a:pt x="4941" y="2353"/>
                    <a:pt x="4946" y="2331"/>
                    <a:pt x="4948" y="2319"/>
                  </a:cubicBezTo>
                  <a:cubicBezTo>
                    <a:pt x="4950" y="2307"/>
                    <a:pt x="4941" y="2296"/>
                    <a:pt x="4941" y="2296"/>
                  </a:cubicBezTo>
                  <a:lnTo>
                    <a:pt x="4928" y="2299"/>
                  </a:lnTo>
                  <a:close/>
                  <a:moveTo>
                    <a:pt x="5221" y="1700"/>
                  </a:moveTo>
                  <a:cubicBezTo>
                    <a:pt x="5194" y="1696"/>
                    <a:pt x="5194" y="1696"/>
                    <a:pt x="5194" y="1696"/>
                  </a:cubicBezTo>
                  <a:cubicBezTo>
                    <a:pt x="5181" y="1743"/>
                    <a:pt x="5181" y="1743"/>
                    <a:pt x="5181" y="1743"/>
                  </a:cubicBezTo>
                  <a:cubicBezTo>
                    <a:pt x="5188" y="1745"/>
                    <a:pt x="5188" y="1745"/>
                    <a:pt x="5188" y="1745"/>
                  </a:cubicBezTo>
                  <a:cubicBezTo>
                    <a:pt x="5200" y="1721"/>
                    <a:pt x="5200" y="1721"/>
                    <a:pt x="5200" y="1721"/>
                  </a:cubicBezTo>
                  <a:cubicBezTo>
                    <a:pt x="5233" y="1703"/>
                    <a:pt x="5233" y="1703"/>
                    <a:pt x="5233" y="1703"/>
                  </a:cubicBezTo>
                  <a:cubicBezTo>
                    <a:pt x="5224" y="1687"/>
                    <a:pt x="5224" y="1687"/>
                    <a:pt x="5224" y="1687"/>
                  </a:cubicBezTo>
                  <a:lnTo>
                    <a:pt x="5221" y="1700"/>
                  </a:lnTo>
                  <a:close/>
                  <a:moveTo>
                    <a:pt x="5157" y="1743"/>
                  </a:moveTo>
                  <a:cubicBezTo>
                    <a:pt x="5145" y="1782"/>
                    <a:pt x="5145" y="1782"/>
                    <a:pt x="5145" y="1782"/>
                  </a:cubicBezTo>
                  <a:cubicBezTo>
                    <a:pt x="5154" y="1779"/>
                    <a:pt x="5154" y="1779"/>
                    <a:pt x="5154" y="1779"/>
                  </a:cubicBezTo>
                  <a:cubicBezTo>
                    <a:pt x="5170" y="1752"/>
                    <a:pt x="5170" y="1752"/>
                    <a:pt x="5170" y="1752"/>
                  </a:cubicBezTo>
                  <a:lnTo>
                    <a:pt x="5157" y="1743"/>
                  </a:lnTo>
                  <a:close/>
                  <a:moveTo>
                    <a:pt x="4842" y="2473"/>
                  </a:moveTo>
                  <a:cubicBezTo>
                    <a:pt x="4842" y="2477"/>
                    <a:pt x="4838" y="2486"/>
                    <a:pt x="4838" y="2486"/>
                  </a:cubicBezTo>
                  <a:cubicBezTo>
                    <a:pt x="4847" y="2506"/>
                    <a:pt x="4847" y="2506"/>
                    <a:pt x="4847" y="2506"/>
                  </a:cubicBezTo>
                  <a:cubicBezTo>
                    <a:pt x="4848" y="2495"/>
                    <a:pt x="4848" y="2495"/>
                    <a:pt x="4848" y="2495"/>
                  </a:cubicBezTo>
                  <a:cubicBezTo>
                    <a:pt x="4848" y="2495"/>
                    <a:pt x="4842" y="2469"/>
                    <a:pt x="4842" y="2473"/>
                  </a:cubicBezTo>
                  <a:close/>
                  <a:moveTo>
                    <a:pt x="5014" y="2105"/>
                  </a:moveTo>
                  <a:cubicBezTo>
                    <a:pt x="5022" y="2104"/>
                    <a:pt x="5022" y="2104"/>
                    <a:pt x="5022" y="2104"/>
                  </a:cubicBezTo>
                  <a:cubicBezTo>
                    <a:pt x="5021" y="2088"/>
                    <a:pt x="5021" y="2088"/>
                    <a:pt x="5021" y="2088"/>
                  </a:cubicBezTo>
                  <a:cubicBezTo>
                    <a:pt x="5015" y="2086"/>
                    <a:pt x="5015" y="2086"/>
                    <a:pt x="5015" y="2086"/>
                  </a:cubicBezTo>
                  <a:cubicBezTo>
                    <a:pt x="5005" y="2073"/>
                    <a:pt x="5005" y="2073"/>
                    <a:pt x="5005" y="2073"/>
                  </a:cubicBezTo>
                  <a:cubicBezTo>
                    <a:pt x="5001" y="2081"/>
                    <a:pt x="5001" y="2081"/>
                    <a:pt x="5001" y="2081"/>
                  </a:cubicBezTo>
                  <a:cubicBezTo>
                    <a:pt x="5009" y="2090"/>
                    <a:pt x="5009" y="2090"/>
                    <a:pt x="5009" y="2090"/>
                  </a:cubicBezTo>
                  <a:lnTo>
                    <a:pt x="5014" y="2105"/>
                  </a:lnTo>
                  <a:close/>
                </a:path>
              </a:pathLst>
            </a:custGeom>
            <a:grpFill/>
            <a:ln w="9525" cap="flat" cmpd="sng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First LSY Developer Conference:</a:t>
            </a:r>
          </a:p>
        </p:txBody>
      </p:sp>
      <p:sp>
        <p:nvSpPr>
          <p:cNvPr id="20" name="Textfeld 19"/>
          <p:cNvSpPr txBox="1"/>
          <p:nvPr/>
        </p:nvSpPr>
        <p:spPr bwMode="gray">
          <a:xfrm>
            <a:off x="4554503" y="2442809"/>
            <a:ext cx="116524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en-US" sz="2000" b="1">
                <a:solidFill>
                  <a:schemeClr val="tx2"/>
                </a:solidFill>
                <a:latin typeface="+mj-lt"/>
              </a:rPr>
              <a:t>EMEA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1823898" y="2392847"/>
            <a:ext cx="1540088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r">
              <a:spcBef>
                <a:spcPts val="600"/>
              </a:spcBef>
              <a:buSzPct val="90000"/>
            </a:pPr>
            <a:r>
              <a:rPr lang="en-US" sz="2000" b="1">
                <a:solidFill>
                  <a:schemeClr val="tx2"/>
                </a:solidFill>
                <a:latin typeface="+mj-lt"/>
              </a:rPr>
              <a:t>AMERICAS</a:t>
            </a:r>
            <a:endParaRPr lang="en-US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92" name="Textfeld 91"/>
          <p:cNvSpPr txBox="1"/>
          <p:nvPr/>
        </p:nvSpPr>
        <p:spPr bwMode="gray">
          <a:xfrm>
            <a:off x="4931312" y="1584517"/>
            <a:ext cx="2468571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en-US" sz="1000" b="1" dirty="0">
                <a:solidFill>
                  <a:schemeClr val="tx2"/>
                </a:solidFill>
                <a:latin typeface="+mj-lt"/>
              </a:rPr>
              <a:t>GDN</a:t>
            </a:r>
          </a:p>
        </p:txBody>
      </p:sp>
      <p:sp>
        <p:nvSpPr>
          <p:cNvPr id="96" name="Textfeld 95"/>
          <p:cNvSpPr txBox="1"/>
          <p:nvPr/>
        </p:nvSpPr>
        <p:spPr bwMode="gray">
          <a:xfrm>
            <a:off x="4784824" y="1766832"/>
            <a:ext cx="2607859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en-US" sz="1000" b="1">
                <a:solidFill>
                  <a:schemeClr val="tx2"/>
                </a:solidFill>
                <a:latin typeface="+mj-lt"/>
              </a:rPr>
              <a:t>BUD</a:t>
            </a:r>
            <a:endParaRPr lang="en-US" sz="900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107" name="Textfeld 106"/>
          <p:cNvSpPr txBox="1"/>
          <p:nvPr/>
        </p:nvSpPr>
        <p:spPr bwMode="gray">
          <a:xfrm>
            <a:off x="4413933" y="1518567"/>
            <a:ext cx="416486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en-US" sz="1000" b="1">
                <a:solidFill>
                  <a:schemeClr val="tx2"/>
                </a:solidFill>
                <a:latin typeface="+mj-lt"/>
              </a:rPr>
              <a:t>BER</a:t>
            </a:r>
          </a:p>
        </p:txBody>
      </p:sp>
      <p:sp>
        <p:nvSpPr>
          <p:cNvPr id="16" name="Bogen 15"/>
          <p:cNvSpPr/>
          <p:nvPr/>
        </p:nvSpPr>
        <p:spPr>
          <a:xfrm>
            <a:off x="4960567" y="1126750"/>
            <a:ext cx="2186406" cy="2293888"/>
          </a:xfrm>
          <a:prstGeom prst="arc">
            <a:avLst>
              <a:gd name="adj1" fmla="val 13077041"/>
              <a:gd name="adj2" fmla="val 21397917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Bogen 37"/>
          <p:cNvSpPr/>
          <p:nvPr/>
        </p:nvSpPr>
        <p:spPr>
          <a:xfrm rot="20725129">
            <a:off x="2527015" y="1359451"/>
            <a:ext cx="1840125" cy="2152887"/>
          </a:xfrm>
          <a:prstGeom prst="arc">
            <a:avLst>
              <a:gd name="adj1" fmla="val 11771690"/>
              <a:gd name="adj2" fmla="val 16612109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Textfeld 42"/>
          <p:cNvSpPr txBox="1"/>
          <p:nvPr/>
        </p:nvSpPr>
        <p:spPr bwMode="gray">
          <a:xfrm>
            <a:off x="4304611" y="1230591"/>
            <a:ext cx="2468571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en-US" sz="1000" b="1" dirty="0">
                <a:solidFill>
                  <a:schemeClr val="tx2"/>
                </a:solidFill>
                <a:latin typeface="+mj-lt"/>
              </a:rPr>
              <a:t>HAM</a:t>
            </a:r>
          </a:p>
        </p:txBody>
      </p:sp>
      <p:sp>
        <p:nvSpPr>
          <p:cNvPr id="44" name="Textfeld 43"/>
          <p:cNvSpPr txBox="1"/>
          <p:nvPr/>
        </p:nvSpPr>
        <p:spPr bwMode="gray">
          <a:xfrm>
            <a:off x="4385040" y="1953481"/>
            <a:ext cx="1008298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en-US" sz="1000" b="1">
                <a:solidFill>
                  <a:schemeClr val="tx2"/>
                </a:solidFill>
                <a:latin typeface="+mj-lt"/>
              </a:rPr>
              <a:t>ZRH</a:t>
            </a:r>
            <a:endParaRPr lang="en-US" sz="900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46" name="Bogen 45"/>
          <p:cNvSpPr/>
          <p:nvPr/>
        </p:nvSpPr>
        <p:spPr>
          <a:xfrm rot="10475132">
            <a:off x="4703447" y="2759393"/>
            <a:ext cx="615609" cy="711233"/>
          </a:xfrm>
          <a:prstGeom prst="arc">
            <a:avLst>
              <a:gd name="adj1" fmla="val 13754823"/>
              <a:gd name="adj2" fmla="val 205969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Bogen 46"/>
          <p:cNvSpPr/>
          <p:nvPr/>
        </p:nvSpPr>
        <p:spPr>
          <a:xfrm rot="11678433">
            <a:off x="5020838" y="1307694"/>
            <a:ext cx="1186215" cy="1646135"/>
          </a:xfrm>
          <a:prstGeom prst="arc">
            <a:avLst>
              <a:gd name="adj1" fmla="val 18832510"/>
              <a:gd name="adj2" fmla="val 21465360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Bogen 47"/>
          <p:cNvSpPr/>
          <p:nvPr/>
        </p:nvSpPr>
        <p:spPr>
          <a:xfrm rot="618452">
            <a:off x="4112680" y="2597597"/>
            <a:ext cx="1186215" cy="1148062"/>
          </a:xfrm>
          <a:prstGeom prst="arc">
            <a:avLst>
              <a:gd name="adj1" fmla="val 18832510"/>
              <a:gd name="adj2" fmla="val 194433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Bogen 48"/>
          <p:cNvSpPr/>
          <p:nvPr/>
        </p:nvSpPr>
        <p:spPr>
          <a:xfrm rot="14821738">
            <a:off x="4363621" y="2884400"/>
            <a:ext cx="1638209" cy="822929"/>
          </a:xfrm>
          <a:prstGeom prst="arc">
            <a:avLst>
              <a:gd name="adj1" fmla="val 18832510"/>
              <a:gd name="adj2" fmla="val 20089525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Bogen 50"/>
          <p:cNvSpPr/>
          <p:nvPr/>
        </p:nvSpPr>
        <p:spPr>
          <a:xfrm rot="372595">
            <a:off x="3496042" y="1649169"/>
            <a:ext cx="1186215" cy="1646135"/>
          </a:xfrm>
          <a:prstGeom prst="arc">
            <a:avLst>
              <a:gd name="adj1" fmla="val 19611626"/>
              <a:gd name="adj2" fmla="val 21465360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Bogen 55"/>
          <p:cNvSpPr/>
          <p:nvPr/>
        </p:nvSpPr>
        <p:spPr>
          <a:xfrm rot="21107374">
            <a:off x="2316540" y="1359700"/>
            <a:ext cx="2312319" cy="2134170"/>
          </a:xfrm>
          <a:prstGeom prst="arc">
            <a:avLst>
              <a:gd name="adj1" fmla="val 16185317"/>
              <a:gd name="adj2" fmla="val 20150199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Bogen 57"/>
          <p:cNvSpPr/>
          <p:nvPr/>
        </p:nvSpPr>
        <p:spPr>
          <a:xfrm rot="11222690" flipH="1">
            <a:off x="5031759" y="1909744"/>
            <a:ext cx="2127004" cy="1525488"/>
          </a:xfrm>
          <a:prstGeom prst="arc">
            <a:avLst>
              <a:gd name="adj1" fmla="val 17127846"/>
              <a:gd name="adj2" fmla="val 21552486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Bogen 66"/>
          <p:cNvSpPr/>
          <p:nvPr/>
        </p:nvSpPr>
        <p:spPr>
          <a:xfrm rot="10800000" flipH="1">
            <a:off x="1956035" y="2656141"/>
            <a:ext cx="2109273" cy="1525488"/>
          </a:xfrm>
          <a:prstGeom prst="arc">
            <a:avLst>
              <a:gd name="adj1" fmla="val 16325587"/>
              <a:gd name="adj2" fmla="val 20281105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Bogen 72"/>
          <p:cNvSpPr/>
          <p:nvPr/>
        </p:nvSpPr>
        <p:spPr>
          <a:xfrm rot="20935135" flipH="1">
            <a:off x="450863" y="1799779"/>
            <a:ext cx="2278734" cy="1719590"/>
          </a:xfrm>
          <a:prstGeom prst="arc">
            <a:avLst>
              <a:gd name="adj1" fmla="val 15520528"/>
              <a:gd name="adj2" fmla="val 14602625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841" y="3236828"/>
            <a:ext cx="479559" cy="447099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9980" y="1901310"/>
            <a:ext cx="459315" cy="459315"/>
          </a:xfrm>
          <a:prstGeom prst="rect">
            <a:avLst/>
          </a:prstGeom>
        </p:spPr>
      </p:pic>
      <p:sp>
        <p:nvSpPr>
          <p:cNvPr id="22" name="Rechteck 21"/>
          <p:cNvSpPr/>
          <p:nvPr/>
        </p:nvSpPr>
        <p:spPr>
          <a:xfrm>
            <a:off x="5770794" y="1085157"/>
            <a:ext cx="532277" cy="1274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71" name="Textplatzhalter 2"/>
          <p:cNvSpPr txBox="1">
            <a:spLocks/>
          </p:cNvSpPr>
          <p:nvPr/>
        </p:nvSpPr>
        <p:spPr>
          <a:xfrm>
            <a:off x="1383528" y="3140273"/>
            <a:ext cx="1226584" cy="129065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j-lt"/>
              </a:rPr>
              <a:t>1 day full of </a:t>
            </a:r>
            <a:r>
              <a:rPr lang="en-US" sz="1600" b="1" dirty="0">
                <a:solidFill>
                  <a:schemeClr val="bg1"/>
                </a:solidFill>
              </a:rPr>
              <a:t>Sharing Great Developer Experience</a:t>
            </a:r>
          </a:p>
          <a:p>
            <a:pPr algn="ctr"/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3DE1ACDE-4968-4B88-8A13-8972A951E612}"/>
              </a:ext>
            </a:extLst>
          </p:cNvPr>
          <p:cNvSpPr txBox="1">
            <a:spLocks/>
          </p:cNvSpPr>
          <p:nvPr/>
        </p:nvSpPr>
        <p:spPr>
          <a:xfrm>
            <a:off x="1904468" y="1657843"/>
            <a:ext cx="1556035" cy="117012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 </a:t>
            </a:r>
            <a:r>
              <a:rPr lang="en-US" sz="1600" b="1" dirty="0">
                <a:solidFill>
                  <a:schemeClr val="bg1"/>
                </a:solidFill>
                <a:latin typeface="+mj-lt"/>
              </a:rPr>
              <a:t>15 colleagues sharing developer experience</a:t>
            </a:r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5EEC680D-B027-4910-8D54-7250377BA81F}"/>
              </a:ext>
            </a:extLst>
          </p:cNvPr>
          <p:cNvSpPr txBox="1">
            <a:spLocks/>
          </p:cNvSpPr>
          <p:nvPr/>
        </p:nvSpPr>
        <p:spPr>
          <a:xfrm>
            <a:off x="7159392" y="2409562"/>
            <a:ext cx="1256569" cy="40793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j-lt"/>
              </a:rPr>
              <a:t>Networking</a:t>
            </a: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06BBC311-9019-42F5-A41B-C002CB684915}"/>
              </a:ext>
            </a:extLst>
          </p:cNvPr>
          <p:cNvSpPr txBox="1">
            <a:spLocks/>
          </p:cNvSpPr>
          <p:nvPr/>
        </p:nvSpPr>
        <p:spPr>
          <a:xfrm>
            <a:off x="3513997" y="3328252"/>
            <a:ext cx="1477419" cy="60282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j-lt"/>
              </a:rPr>
              <a:t>5 Partner Presentations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79" name="Textplatzhalter 2">
            <a:extLst>
              <a:ext uri="{FF2B5EF4-FFF2-40B4-BE49-F238E27FC236}">
                <a16:creationId xmlns:a16="http://schemas.microsoft.com/office/drawing/2014/main" id="{1D5DFC55-80FD-42B7-8BB9-649CB17FE5F5}"/>
              </a:ext>
            </a:extLst>
          </p:cNvPr>
          <p:cNvSpPr txBox="1">
            <a:spLocks/>
          </p:cNvSpPr>
          <p:nvPr/>
        </p:nvSpPr>
        <p:spPr>
          <a:xfrm>
            <a:off x="5684419" y="1074569"/>
            <a:ext cx="1679830" cy="61403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j-lt"/>
              </a:rPr>
              <a:t>Interactive Market place</a:t>
            </a:r>
          </a:p>
        </p:txBody>
      </p:sp>
      <p:sp>
        <p:nvSpPr>
          <p:cNvPr id="84" name="Textplatzhalter 2"/>
          <p:cNvSpPr txBox="1">
            <a:spLocks/>
          </p:cNvSpPr>
          <p:nvPr/>
        </p:nvSpPr>
        <p:spPr>
          <a:xfrm>
            <a:off x="-72008" y="2516897"/>
            <a:ext cx="916619" cy="55602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>
                <a:solidFill>
                  <a:schemeClr val="bg1"/>
                </a:solidFill>
                <a:latin typeface="+mj-lt"/>
              </a:rPr>
              <a:t>Meet in person </a:t>
            </a:r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5EEC680D-B027-4910-8D54-7250377BA81F}"/>
              </a:ext>
            </a:extLst>
          </p:cNvPr>
          <p:cNvSpPr txBox="1">
            <a:spLocks/>
          </p:cNvSpPr>
          <p:nvPr/>
        </p:nvSpPr>
        <p:spPr>
          <a:xfrm>
            <a:off x="5333445" y="2961326"/>
            <a:ext cx="1256569" cy="82978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j-lt"/>
              </a:rPr>
              <a:t>LSY Developer community</a:t>
            </a:r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5EEC680D-B027-4910-8D54-7250377BA81F}"/>
              </a:ext>
            </a:extLst>
          </p:cNvPr>
          <p:cNvSpPr txBox="1">
            <a:spLocks/>
          </p:cNvSpPr>
          <p:nvPr/>
        </p:nvSpPr>
        <p:spPr>
          <a:xfrm>
            <a:off x="6988875" y="3167587"/>
            <a:ext cx="1256569" cy="36216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  <a:latin typeface="+mj-lt"/>
              </a:rPr>
              <a:t>Learning</a:t>
            </a:r>
          </a:p>
        </p:txBody>
      </p:sp>
      <p:sp>
        <p:nvSpPr>
          <p:cNvPr id="54" name="Bogen 53"/>
          <p:cNvSpPr/>
          <p:nvPr/>
        </p:nvSpPr>
        <p:spPr>
          <a:xfrm rot="12326054" flipH="1">
            <a:off x="661373" y="3419093"/>
            <a:ext cx="2482418" cy="378215"/>
          </a:xfrm>
          <a:prstGeom prst="arc">
            <a:avLst>
              <a:gd name="adj1" fmla="val 17127846"/>
              <a:gd name="adj2" fmla="val 21552486"/>
            </a:avLst>
          </a:prstGeom>
          <a:ln w="190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Datumsplatzhalter 2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26" name="Fußzeilenplatzhalter 2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517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4400" dirty="0" err="1"/>
              <a:t>What</a:t>
            </a:r>
            <a:r>
              <a:rPr lang="de-DE" sz="4400" dirty="0"/>
              <a:t> </a:t>
            </a:r>
            <a:r>
              <a:rPr lang="de-DE" sz="4400" dirty="0" err="1"/>
              <a:t>we</a:t>
            </a:r>
            <a:r>
              <a:rPr lang="de-DE" sz="4400" dirty="0"/>
              <a:t> </a:t>
            </a:r>
            <a:r>
              <a:rPr lang="de-DE" sz="4400" dirty="0" err="1"/>
              <a:t>want</a:t>
            </a:r>
            <a:r>
              <a:rPr lang="de-DE" sz="4400" dirty="0"/>
              <a:t> </a:t>
            </a:r>
            <a:r>
              <a:rPr lang="de-DE" sz="4400" dirty="0" err="1"/>
              <a:t>to</a:t>
            </a:r>
            <a:r>
              <a:rPr lang="de-DE" sz="4400" dirty="0"/>
              <a:t> </a:t>
            </a:r>
            <a:r>
              <a:rPr lang="de-DE" sz="4400" dirty="0" err="1"/>
              <a:t>achieve</a:t>
            </a:r>
            <a:r>
              <a:rPr lang="de-DE" sz="4400" dirty="0"/>
              <a:t>:</a:t>
            </a:r>
          </a:p>
          <a:p>
            <a:endParaRPr lang="de-DE" sz="4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haring developer successes, actively engaging, fostering dialogue and collaboration. 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br>
              <a:rPr lang="de-DE" sz="2400" dirty="0"/>
            </a:br>
            <a:r>
              <a:rPr lang="en-US" sz="2400" dirty="0"/>
              <a:t>Learning from each other across LSY locations and cultures and working together on innovative ideas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br>
              <a:rPr lang="de-DE" sz="2400" dirty="0"/>
            </a:br>
            <a:r>
              <a:rPr lang="en-US" sz="2400" dirty="0"/>
              <a:t>Strengthening the LSY developer community through face-to-face dialogues. </a:t>
            </a:r>
            <a:br>
              <a:rPr lang="de-DE" sz="2400" dirty="0"/>
            </a:br>
            <a:endParaRPr lang="de-DE" sz="240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801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7C0C4C-279A-44CD-B0A8-D6344E7F9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6BBEED-0EF7-4060-AD98-60CD3AEAF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pPr/>
              <a:t>7</a:t>
            </a:fld>
            <a:endParaRPr lang="de-DE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F5EFFFFA-50DA-476C-9395-B6D3F995C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936492"/>
              </p:ext>
            </p:extLst>
          </p:nvPr>
        </p:nvGraphicFramePr>
        <p:xfrm>
          <a:off x="290377" y="514559"/>
          <a:ext cx="8469537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9537">
                  <a:extLst>
                    <a:ext uri="{9D8B030D-6E8A-4147-A177-3AD203B41FA5}">
                      <a16:colId xmlns:a16="http://schemas.microsoft.com/office/drawing/2014/main" val="3796387301"/>
                    </a:ext>
                  </a:extLst>
                </a:gridCol>
              </a:tblGrid>
              <a:tr h="448397">
                <a:tc>
                  <a:txBody>
                    <a:bodyPr/>
                    <a:lstStyle/>
                    <a:p>
                      <a:r>
                        <a:rPr lang="de-DE" sz="2400" baseline="0" dirty="0"/>
                        <a:t>Agenda Sept 01, 2022 Main </a:t>
                      </a:r>
                      <a:r>
                        <a:rPr lang="de-DE" sz="2400" baseline="0" dirty="0" err="1"/>
                        <a:t>stage</a:t>
                      </a:r>
                      <a:r>
                        <a:rPr lang="de-DE" sz="2400" baseline="0" dirty="0"/>
                        <a:t> </a:t>
                      </a:r>
                      <a:r>
                        <a:rPr lang="de-DE" sz="2400" baseline="0" dirty="0" err="1"/>
                        <a:t>ÖbölHáz</a:t>
                      </a:r>
                      <a:r>
                        <a:rPr lang="de-DE" sz="2400" baseline="0" dirty="0"/>
                        <a:t> Event </a:t>
                      </a:r>
                      <a:r>
                        <a:rPr lang="de-DE" sz="2400" b="1" kern="1200" baseline="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ntre</a:t>
                      </a:r>
                      <a:endParaRPr lang="de-DE" sz="2400" b="1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830573"/>
                  </a:ext>
                </a:extLst>
              </a:tr>
            </a:tbl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62027" y="3769723"/>
            <a:ext cx="8497887" cy="701537"/>
          </a:xfrm>
        </p:spPr>
        <p:txBody>
          <a:bodyPr/>
          <a:lstStyle/>
          <a:p>
            <a:br>
              <a:rPr lang="de-DE" sz="1800">
                <a:solidFill>
                  <a:schemeClr val="accent6">
                    <a:lumMod val="90000"/>
                    <a:lumOff val="10000"/>
                  </a:schemeClr>
                </a:solidFill>
              </a:rPr>
            </a:br>
            <a:endParaRPr lang="de-DE" sz="180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762130"/>
              </p:ext>
            </p:extLst>
          </p:nvPr>
        </p:nvGraphicFramePr>
        <p:xfrm>
          <a:off x="287338" y="1123343"/>
          <a:ext cx="8472577" cy="3426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9987">
                  <a:extLst>
                    <a:ext uri="{9D8B030D-6E8A-4147-A177-3AD203B41FA5}">
                      <a16:colId xmlns:a16="http://schemas.microsoft.com/office/drawing/2014/main" val="3725990739"/>
                    </a:ext>
                  </a:extLst>
                </a:gridCol>
                <a:gridCol w="7302590">
                  <a:extLst>
                    <a:ext uri="{9D8B030D-6E8A-4147-A177-3AD203B41FA5}">
                      <a16:colId xmlns:a16="http://schemas.microsoft.com/office/drawing/2014/main" val="730208506"/>
                    </a:ext>
                  </a:extLst>
                </a:gridCol>
              </a:tblGrid>
              <a:tr h="35625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0:00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Welcome &amp; </a:t>
                      </a:r>
                      <a:r>
                        <a:rPr lang="de-DE" sz="1800" b="1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Opening</a:t>
                      </a:r>
                      <a:endParaRPr lang="de-DE" sz="18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824132"/>
                  </a:ext>
                </a:extLst>
              </a:tr>
              <a:tr h="62344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1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Measured and consistent application delivery</a:t>
                      </a:r>
                      <a:r>
                        <a:rPr lang="en-US" sz="1800" b="1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Nic Jackson, </a:t>
                      </a:r>
                      <a:r>
                        <a:rPr lang="en-US" sz="1800" b="1" kern="1200" baseline="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Hashicorp</a:t>
                      </a:r>
                      <a:endParaRPr lang="de-DE" sz="18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2605817"/>
                  </a:ext>
                </a:extLst>
              </a:tr>
              <a:tr h="35625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Coffee break</a:t>
                      </a:r>
                      <a:endParaRPr lang="de-DE" sz="18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1049379"/>
                  </a:ext>
                </a:extLst>
              </a:tr>
              <a:tr h="62344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2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Dapr</a:t>
                      </a:r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- Distributed </a:t>
                      </a:r>
                      <a:r>
                        <a:rPr lang="de-DE" sz="1800" b="1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b="1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Runtime</a:t>
                      </a:r>
                      <a:r>
                        <a:rPr lang="de-DE" sz="1800" b="1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Donovan Brown, Microsoft</a:t>
                      </a:r>
                      <a:endParaRPr lang="de-DE" sz="18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8067120"/>
                  </a:ext>
                </a:extLst>
              </a:tr>
              <a:tr h="35625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Lunch &amp; Market Pla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822542"/>
                  </a:ext>
                </a:extLst>
              </a:tr>
              <a:tr h="62344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4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API Management </a:t>
                      </a:r>
                      <a:r>
                        <a:rPr lang="de-DE" sz="1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with</a:t>
                      </a:r>
                      <a:r>
                        <a:rPr lang="de-DE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 </a:t>
                      </a:r>
                      <a:r>
                        <a:rPr lang="de-DE" sz="1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Apigee</a:t>
                      </a:r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 -Florian Geiger, Customer Engineer –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API Management and Integration, Google Clou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6832739"/>
                  </a:ext>
                </a:extLst>
              </a:tr>
              <a:tr h="4088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Lufthansa Office Text" panose="020B0404040000000004" pitchFamily="34" charset="0"/>
                        </a:rPr>
                        <a:t>Coffee-Break &amp; find your next session lo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717604"/>
                  </a:ext>
                </a:extLst>
              </a:tr>
            </a:tbl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160" y="2084224"/>
            <a:ext cx="437327" cy="43732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4448" y="4120491"/>
            <a:ext cx="437327" cy="437327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 rot="688879">
            <a:off x="7684752" y="345138"/>
            <a:ext cx="125334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2000" dirty="0">
                <a:solidFill>
                  <a:srgbClr val="FF0000"/>
                </a:solidFill>
              </a:rPr>
              <a:t>Needs </a:t>
            </a:r>
            <a:r>
              <a:rPr lang="de-DE" sz="2000" dirty="0" err="1">
                <a:solidFill>
                  <a:srgbClr val="FF0000"/>
                </a:solidFill>
              </a:rPr>
              <a:t>to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b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ross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hecked</a:t>
            </a:r>
            <a:r>
              <a:rPr lang="de-DE" sz="2000" dirty="0">
                <a:solidFill>
                  <a:srgbClr val="FF0000"/>
                </a:solidFill>
              </a:rPr>
              <a:t> just </a:t>
            </a:r>
            <a:r>
              <a:rPr lang="de-DE" sz="2000" dirty="0" err="1">
                <a:solidFill>
                  <a:srgbClr val="FF0000"/>
                </a:solidFill>
              </a:rPr>
              <a:t>befor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the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event</a:t>
            </a: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6623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87338" y="266648"/>
            <a:ext cx="8497887" cy="2465460"/>
          </a:xfrm>
          <a:solidFill>
            <a:srgbClr val="002060"/>
          </a:solidFill>
        </p:spPr>
        <p:txBody>
          <a:bodyPr vert="horz" wrap="square" lIns="0" tIns="180000" rIns="0" bIns="0" rtlCol="0" anchor="t">
            <a:spAutoFit/>
          </a:bodyPr>
          <a:lstStyle/>
          <a:p>
            <a:r>
              <a:rPr lang="de-DE" sz="8000">
                <a:solidFill>
                  <a:schemeClr val="bg1"/>
                </a:solidFill>
                <a:latin typeface="Lufthansa Office Head"/>
              </a:rPr>
              <a:t>13:00h </a:t>
            </a:r>
          </a:p>
          <a:p>
            <a:r>
              <a:rPr lang="de-DE" sz="8000">
                <a:solidFill>
                  <a:schemeClr val="bg1"/>
                </a:solidFill>
                <a:latin typeface="Lufthansa Office Head"/>
              </a:rPr>
              <a:t>Group </a:t>
            </a:r>
            <a:r>
              <a:rPr lang="de-DE" sz="8000" err="1">
                <a:solidFill>
                  <a:schemeClr val="bg1"/>
                </a:solidFill>
                <a:latin typeface="Lufthansa Office Head"/>
              </a:rPr>
              <a:t>picture</a:t>
            </a:r>
            <a:endParaRPr lang="de-DE" sz="8000">
              <a:solidFill>
                <a:schemeClr val="bg1"/>
              </a:solidFill>
              <a:latin typeface="Lufthansa Office Head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941" y="2194235"/>
            <a:ext cx="3009438" cy="3009438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530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87338" y="3177"/>
            <a:ext cx="8497887" cy="1889027"/>
          </a:xfrm>
        </p:spPr>
        <p:txBody>
          <a:bodyPr vert="horz" lIns="0" tIns="180000" rIns="0" bIns="0" rtlCol="0" anchor="t">
            <a:noAutofit/>
          </a:bodyPr>
          <a:lstStyle/>
          <a:p>
            <a:endParaRPr lang="de-DE" sz="600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9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5669235" y="3108777"/>
            <a:ext cx="2206315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4800" b="1">
                <a:solidFill>
                  <a:schemeClr val="tx2"/>
                </a:solidFill>
                <a:latin typeface="+mj-lt"/>
              </a:rPr>
              <a:t>Google</a:t>
            </a:r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5233872" y="2318557"/>
            <a:ext cx="403222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4800" b="1">
                <a:solidFill>
                  <a:schemeClr val="tx2"/>
                </a:solidFill>
                <a:latin typeface="+mj-lt"/>
              </a:rPr>
              <a:t>Microsof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51510" y="2230274"/>
            <a:ext cx="3005872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4800" b="1" err="1">
                <a:solidFill>
                  <a:schemeClr val="tx2"/>
                </a:solidFill>
                <a:latin typeface="+mj-lt"/>
              </a:rPr>
              <a:t>Hashicorp</a:t>
            </a:r>
            <a:endParaRPr lang="de-DE" sz="4800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10" name="Textplatzhalter 1"/>
          <p:cNvSpPr txBox="1">
            <a:spLocks/>
          </p:cNvSpPr>
          <p:nvPr/>
        </p:nvSpPr>
        <p:spPr>
          <a:xfrm>
            <a:off x="450705" y="3891404"/>
            <a:ext cx="8497887" cy="1430416"/>
          </a:xfrm>
          <a:prstGeom prst="rect">
            <a:avLst/>
          </a:prstGeom>
        </p:spPr>
        <p:txBody>
          <a:bodyPr vert="horz" lIns="0" tIns="180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96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9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Opening: Lunch time, </a:t>
            </a:r>
            <a:r>
              <a:rPr lang="de-DE" sz="2400" err="1"/>
              <a:t>during</a:t>
            </a:r>
            <a:r>
              <a:rPr lang="de-DE" sz="2400"/>
              <a:t> </a:t>
            </a:r>
            <a:r>
              <a:rPr lang="de-DE" sz="2400" err="1"/>
              <a:t>breaks</a:t>
            </a:r>
            <a:r>
              <a:rPr lang="de-DE" sz="2400"/>
              <a:t> and 17:30-19:00h</a:t>
            </a:r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945984EC-261B-4A61-CC1C-3203B513AE8B}"/>
              </a:ext>
            </a:extLst>
          </p:cNvPr>
          <p:cNvSpPr txBox="1">
            <a:spLocks/>
          </p:cNvSpPr>
          <p:nvPr/>
        </p:nvSpPr>
        <p:spPr>
          <a:xfrm>
            <a:off x="287338" y="5593"/>
            <a:ext cx="8497887" cy="2065863"/>
          </a:xfrm>
          <a:prstGeom prst="rect">
            <a:avLst/>
          </a:prstGeom>
          <a:solidFill>
            <a:srgbClr val="002060"/>
          </a:solidFill>
        </p:spPr>
        <p:txBody>
          <a:bodyPr vert="horz" wrap="square" lIns="0" tIns="18000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96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2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9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6600">
                <a:solidFill>
                  <a:schemeClr val="bg1"/>
                </a:solidFill>
                <a:latin typeface="Lufthansa Office Head"/>
              </a:rPr>
              <a:t>Want </a:t>
            </a:r>
            <a:r>
              <a:rPr lang="de-DE" sz="6600" err="1">
                <a:solidFill>
                  <a:schemeClr val="bg1"/>
                </a:solidFill>
                <a:latin typeface="Lufthansa Office Head"/>
              </a:rPr>
              <a:t>to</a:t>
            </a:r>
            <a:r>
              <a:rPr lang="de-DE" sz="6600">
                <a:solidFill>
                  <a:schemeClr val="bg1"/>
                </a:solidFill>
                <a:latin typeface="Lufthansa Office Head"/>
              </a:rPr>
              <a:t> </a:t>
            </a:r>
            <a:r>
              <a:rPr lang="de-DE" sz="6600" err="1">
                <a:solidFill>
                  <a:schemeClr val="bg1"/>
                </a:solidFill>
                <a:latin typeface="Lufthansa Office Head"/>
              </a:rPr>
              <a:t>meet</a:t>
            </a:r>
            <a:r>
              <a:rPr lang="de-DE" sz="6600">
                <a:solidFill>
                  <a:schemeClr val="bg1"/>
                </a:solidFill>
                <a:latin typeface="Lufthansa Office Head"/>
              </a:rPr>
              <a:t> </a:t>
            </a:r>
            <a:r>
              <a:rPr lang="de-DE" sz="6600" err="1">
                <a:solidFill>
                  <a:schemeClr val="bg1"/>
                </a:solidFill>
                <a:latin typeface="Lufthansa Office Head"/>
              </a:rPr>
              <a:t>you</a:t>
            </a:r>
            <a:r>
              <a:rPr lang="de-DE" sz="6600">
                <a:solidFill>
                  <a:schemeClr val="bg1"/>
                </a:solidFill>
                <a:latin typeface="Lufthansa Office Head"/>
              </a:rPr>
              <a:t> at</a:t>
            </a:r>
          </a:p>
          <a:p>
            <a:r>
              <a:rPr lang="de-DE" sz="6600">
                <a:solidFill>
                  <a:schemeClr val="bg1"/>
                </a:solidFill>
                <a:latin typeface="Lufthansa Office Head"/>
              </a:rPr>
              <a:t> </a:t>
            </a:r>
            <a:r>
              <a:rPr lang="de-DE" sz="6600" err="1">
                <a:solidFill>
                  <a:schemeClr val="bg1"/>
                </a:solidFill>
                <a:latin typeface="Lufthansa Office Head"/>
              </a:rPr>
              <a:t>the</a:t>
            </a:r>
            <a:r>
              <a:rPr lang="de-DE" sz="6600">
                <a:solidFill>
                  <a:schemeClr val="bg1"/>
                </a:solidFill>
                <a:latin typeface="Lufthansa Office Head"/>
              </a:rPr>
              <a:t> Market Place</a:t>
            </a:r>
            <a:endParaRPr lang="de-DE" sz="6600">
              <a:solidFill>
                <a:schemeClr val="bg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1D52D84-CC06-D141-9BB7-630BE6982D0B}"/>
              </a:ext>
            </a:extLst>
          </p:cNvPr>
          <p:cNvSpPr txBox="1"/>
          <p:nvPr/>
        </p:nvSpPr>
        <p:spPr>
          <a:xfrm>
            <a:off x="451510" y="3055774"/>
            <a:ext cx="4720371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4800" b="1">
                <a:solidFill>
                  <a:schemeClr val="tx2"/>
                </a:solidFill>
                <a:latin typeface="+mj-lt"/>
              </a:rPr>
              <a:t>Rocket </a:t>
            </a:r>
            <a:r>
              <a:rPr lang="de-DE" sz="4800" b="1" err="1">
                <a:solidFill>
                  <a:schemeClr val="tx2"/>
                </a:solidFill>
                <a:latin typeface="+mj-lt"/>
              </a:rPr>
              <a:t>project</a:t>
            </a:r>
          </a:p>
        </p:txBody>
      </p:sp>
    </p:spTree>
    <p:extLst>
      <p:ext uri="{BB962C8B-B14F-4D97-AF65-F5344CB8AC3E}">
        <p14:creationId xmlns:p14="http://schemas.microsoft.com/office/powerpoint/2010/main" val="1512610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R2RRbt.kCKtDYynC.E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IW0rFaxECKzHkFlqB_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_EUYuQweLFOoq1s9A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fthansa Systems Template 16 : 9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E6E6E6"/>
      </a:lt2>
      <a:accent1>
        <a:srgbClr val="999999"/>
      </a:accent1>
      <a:accent2>
        <a:srgbClr val="CCCCCC"/>
      </a:accent2>
      <a:accent3>
        <a:srgbClr val="666666"/>
      </a:accent3>
      <a:accent4>
        <a:srgbClr val="787878"/>
      </a:accent4>
      <a:accent5>
        <a:srgbClr val="FFAD00"/>
      </a:accent5>
      <a:accent6>
        <a:srgbClr val="05164D"/>
      </a:accent6>
      <a:hlink>
        <a:srgbClr val="666666"/>
      </a:hlink>
      <a:folHlink>
        <a:srgbClr val="CCCCCC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2"/>
          </a:solidFill>
        </a:ln>
      </a:spPr>
      <a:bodyPr rot="0" spcFirstLastPara="0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1450" indent="-171450" algn="l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custClrLst>
    <a:custClr name="OS Red">
      <a:srgbClr val="D81E05"/>
    </a:custClr>
    <a:custClr name="OS Gray">
      <a:srgbClr val="333333"/>
    </a:custClr>
    <a:custClr name="LH Blue">
      <a:srgbClr val="05164D"/>
    </a:custClr>
    <a:custClr name="LH Yellow">
      <a:srgbClr val="FFAD00"/>
    </a:custClr>
    <a:custClr name="LX Red">
      <a:srgbClr val="CC0000"/>
    </a:custClr>
    <a:custClr name="LX Warm Gray 2 (60%)">
      <a:srgbClr val="EBE8DF"/>
    </a:custClr>
    <a:custClr name="SN Red">
      <a:srgbClr val="E33417"/>
    </a:custClr>
    <a:custClr name="SN Blue">
      <a:srgbClr val="002C69"/>
    </a:custClr>
    <a:custClr name="EW Dark Burgundy">
      <a:srgbClr val="871C54"/>
    </a:custClr>
    <a:custClr name="EW Light Sky Blue">
      <a:srgbClr val="6BCCE0"/>
    </a:custClr>
    <a:custClr name="IATA Economy Class Green">
      <a:srgbClr val="408236"/>
    </a:custClr>
    <a:custClr name="IATA Business Class Blue">
      <a:srgbClr val="264F87"/>
    </a:custClr>
  </a:custClrLst>
</a:theme>
</file>

<file path=ppt/theme/theme2.xml><?xml version="1.0" encoding="utf-8"?>
<a:theme xmlns:a="http://schemas.openxmlformats.org/drawingml/2006/main" name="Larissa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D2D2D2"/>
      </a:lt2>
      <a:accent1>
        <a:srgbClr val="9B9B9B"/>
      </a:accent1>
      <a:accent2>
        <a:srgbClr val="D2D2D2"/>
      </a:accent2>
      <a:accent3>
        <a:srgbClr val="5A5A5A"/>
      </a:accent3>
      <a:accent4>
        <a:srgbClr val="787878"/>
      </a:accent4>
      <a:accent5>
        <a:srgbClr val="FFAD00"/>
      </a:accent5>
      <a:accent6>
        <a:srgbClr val="05164D"/>
      </a:accent6>
      <a:hlink>
        <a:srgbClr val="5A5A5A"/>
      </a:hlink>
      <a:folHlink>
        <a:srgbClr val="D2D2D2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2E5AAA1656AF3498F0DBBFAE40F3A8F" ma:contentTypeVersion="10" ma:contentTypeDescription="Ein neues Dokument erstellen." ma:contentTypeScope="" ma:versionID="14f32b95efa44fc59d8fb7da0f52f14b">
  <xsd:schema xmlns:xsd="http://www.w3.org/2001/XMLSchema" xmlns:xs="http://www.w3.org/2001/XMLSchema" xmlns:p="http://schemas.microsoft.com/office/2006/metadata/properties" xmlns:ns2="d67bbd7c-b18f-45bf-a99b-add58ee9a55e" xmlns:ns3="d22ddc00-7aae-49a1-b3cc-02679aaceba5" targetNamespace="http://schemas.microsoft.com/office/2006/metadata/properties" ma:root="true" ma:fieldsID="c5b231af6a845a113396dcf6ba5472f9" ns2:_="" ns3:_="">
    <xsd:import namespace="d67bbd7c-b18f-45bf-a99b-add58ee9a55e"/>
    <xsd:import namespace="d22ddc00-7aae-49a1-b3cc-02679aaceb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7bbd7c-b18f-45bf-a99b-add58ee9a5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5bf9f0b1-3012-463a-bd97-40a726b4475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2ddc00-7aae-49a1-b3cc-02679aaceba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c97aa22e-ccb9-48dd-9975-536262f84ab9}" ma:internalName="TaxCatchAll" ma:showField="CatchAllData" ma:web="d22ddc00-7aae-49a1-b3cc-02679aaceb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22ddc00-7aae-49a1-b3cc-02679aaceba5" xsi:nil="true"/>
    <lcf76f155ced4ddcb4097134ff3c332f xmlns="d67bbd7c-b18f-45bf-a99b-add58ee9a55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92B2C40-8E99-46A5-AF9E-1A81B2A07C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7bbd7c-b18f-45bf-a99b-add58ee9a55e"/>
    <ds:schemaRef ds:uri="d22ddc00-7aae-49a1-b3cc-02679aaceb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A724530-E925-4DD3-9BC1-88FCD3735F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EA8799-28BD-47E2-8819-4BD7D31D2903}">
  <ds:schemaRefs>
    <ds:schemaRef ds:uri="http://schemas.openxmlformats.org/package/2006/metadata/core-properties"/>
    <ds:schemaRef ds:uri="http://schemas.microsoft.com/office/2006/documentManagement/types"/>
    <ds:schemaRef ds:uri="e45d59ab-3634-4a1e-886f-b637311d5e36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330bdd64-2cd7-4742-b7a5-c2d8fa312a38"/>
    <ds:schemaRef ds:uri="http://www.w3.org/XML/1998/namespace"/>
    <ds:schemaRef ds:uri="http://purl.org/dc/dcmitype/"/>
    <ds:schemaRef ds:uri="d22ddc00-7aae-49a1-b3cc-02679aaceba5"/>
    <ds:schemaRef ds:uri="d67bbd7c-b18f-45bf-a99b-add58ee9a55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51</Words>
  <Application>Microsoft Office PowerPoint</Application>
  <PresentationFormat>On-screen Show (16:9)</PresentationFormat>
  <Paragraphs>392</Paragraphs>
  <Slides>38</Slides>
  <Notes>24</Notes>
  <HiddenSlides>5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39" baseType="lpstr">
      <vt:lpstr>Lufthansa Systems Template 16 : 9</vt:lpstr>
      <vt:lpstr>PowerPoint Presentation</vt:lpstr>
      <vt:lpstr>New event format: LSY Developer Conference (Hybrid)  </vt:lpstr>
      <vt:lpstr>PowerPoint Presentation</vt:lpstr>
      <vt:lpstr>PowerPoint Presentation</vt:lpstr>
      <vt:lpstr>First LSY Developer Conference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ecklist 2: 45 minutes presentation means max 40 min. presentation and 5 minutes Q &amp; A </vt:lpstr>
      <vt:lpstr>Hints and tricks: Presenting in front of a camera</vt:lpstr>
      <vt:lpstr>Technical equipment in each meeting room: Camera, projector, (audio)?</vt:lpstr>
      <vt:lpstr>Checklist 1  File size, ima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yout with text</vt:lpstr>
      <vt:lpstr>Layout with wallpaper</vt:lpstr>
      <vt:lpstr>Layout with 2 text columns</vt:lpstr>
      <vt:lpstr>Layout with text and image</vt:lpstr>
      <vt:lpstr>PowerPoint Presentation</vt:lpstr>
      <vt:lpstr>PowerPoint Presentation</vt:lpstr>
      <vt:lpstr>PowerPoint Presentation</vt:lpstr>
      <vt:lpstr>Usage exampl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DEBD</dc:creator>
  <cp:keywords/>
  <dc:description/>
  <cp:lastModifiedBy>MARSH, WANDA</cp:lastModifiedBy>
  <cp:revision>226</cp:revision>
  <dcterms:created xsi:type="dcterms:W3CDTF">2018-01-31T08:58:58Z</dcterms:created>
  <dcterms:modified xsi:type="dcterms:W3CDTF">2022-08-22T06:05:2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d1c7476-f302-47ca-97a0-972f32671471_Enabled">
    <vt:lpwstr>true</vt:lpwstr>
  </property>
  <property fmtid="{D5CDD505-2E9C-101B-9397-08002B2CF9AE}" pid="3" name="MSIP_Label_2d1c7476-f302-47ca-97a0-972f32671471_SetDate">
    <vt:lpwstr>2022-07-04T11:53:54Z</vt:lpwstr>
  </property>
  <property fmtid="{D5CDD505-2E9C-101B-9397-08002B2CF9AE}" pid="4" name="MSIP_Label_2d1c7476-f302-47ca-97a0-972f32671471_Method">
    <vt:lpwstr>Standard</vt:lpwstr>
  </property>
  <property fmtid="{D5CDD505-2E9C-101B-9397-08002B2CF9AE}" pid="5" name="MSIP_Label_2d1c7476-f302-47ca-97a0-972f32671471_Name">
    <vt:lpwstr>Internal</vt:lpwstr>
  </property>
  <property fmtid="{D5CDD505-2E9C-101B-9397-08002B2CF9AE}" pid="6" name="MSIP_Label_2d1c7476-f302-47ca-97a0-972f32671471_SiteId">
    <vt:lpwstr>72e15514-5be9-46a8-8b0b-af9b1b77b3b8</vt:lpwstr>
  </property>
  <property fmtid="{D5CDD505-2E9C-101B-9397-08002B2CF9AE}" pid="7" name="MSIP_Label_2d1c7476-f302-47ca-97a0-972f32671471_ActionId">
    <vt:lpwstr>fd6e05d6-242d-4c9b-b766-58766d84138f</vt:lpwstr>
  </property>
  <property fmtid="{D5CDD505-2E9C-101B-9397-08002B2CF9AE}" pid="8" name="MSIP_Label_2d1c7476-f302-47ca-97a0-972f32671471_ContentBits">
    <vt:lpwstr>0</vt:lpwstr>
  </property>
  <property fmtid="{D5CDD505-2E9C-101B-9397-08002B2CF9AE}" pid="9" name="ContentTypeId">
    <vt:lpwstr>0x010100A2E5AAA1656AF3498F0DBBFAE40F3A8F</vt:lpwstr>
  </property>
  <property fmtid="{D5CDD505-2E9C-101B-9397-08002B2CF9AE}" pid="10" name="MediaServiceImageTags">
    <vt:lpwstr/>
  </property>
</Properties>
</file>